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62" r:id="rId10"/>
  </p:sldMasterIdLst>
  <p:notesMasterIdLst>
    <p:notesMasterId r:id="rId13"/>
  </p:notesMasterIdLst>
  <p:handoutMasterIdLst>
    <p:handoutMasterId r:id="rId14"/>
  </p:handoutMasterIdLst>
  <p:sldIdLst>
    <p:sldId id="256" r:id="rId11"/>
    <p:sldId id="261" r:id="rId12"/>
  </p:sldIdLst>
  <p:sldSz cx="12190413" cy="6858000"/>
  <p:notesSz cx="6858000" cy="9144000"/>
  <p:custDataLst>
    <p:tags r:id="rId15"/>
  </p:custDataLst>
  <p:defaultTextStyle>
    <a:defPPr>
      <a:defRPr lang="da-DK"/>
    </a:defPPr>
    <a:lvl1pPr algn="l" rtl="0" fontAlgn="base">
      <a:spcBef>
        <a:spcPct val="50000"/>
      </a:spcBef>
      <a:spcAft>
        <a:spcPct val="0"/>
      </a:spcAft>
      <a:defRPr sz="1600" kern="1200">
        <a:solidFill>
          <a:schemeClr val="tx1"/>
        </a:solidFill>
        <a:latin typeface="Verdana" pitchFamily="34" charset="0"/>
        <a:ea typeface="ＭＳ Ｐゴシック" pitchFamily="-80" charset="-128"/>
        <a:cs typeface="+mn-cs"/>
      </a:defRPr>
    </a:lvl1pPr>
    <a:lvl2pPr marL="457200" algn="l" rtl="0" fontAlgn="base">
      <a:spcBef>
        <a:spcPct val="50000"/>
      </a:spcBef>
      <a:spcAft>
        <a:spcPct val="0"/>
      </a:spcAft>
      <a:defRPr sz="1600" kern="1200">
        <a:solidFill>
          <a:schemeClr val="tx1"/>
        </a:solidFill>
        <a:latin typeface="Verdana" pitchFamily="34" charset="0"/>
        <a:ea typeface="ＭＳ Ｐゴシック" pitchFamily="-80" charset="-128"/>
        <a:cs typeface="+mn-cs"/>
      </a:defRPr>
    </a:lvl2pPr>
    <a:lvl3pPr marL="914400" algn="l" rtl="0" fontAlgn="base">
      <a:spcBef>
        <a:spcPct val="50000"/>
      </a:spcBef>
      <a:spcAft>
        <a:spcPct val="0"/>
      </a:spcAft>
      <a:defRPr sz="1600" kern="1200">
        <a:solidFill>
          <a:schemeClr val="tx1"/>
        </a:solidFill>
        <a:latin typeface="Verdana" pitchFamily="34" charset="0"/>
        <a:ea typeface="ＭＳ Ｐゴシック" pitchFamily="-80" charset="-128"/>
        <a:cs typeface="+mn-cs"/>
      </a:defRPr>
    </a:lvl3pPr>
    <a:lvl4pPr marL="1371600" algn="l" rtl="0" fontAlgn="base">
      <a:spcBef>
        <a:spcPct val="50000"/>
      </a:spcBef>
      <a:spcAft>
        <a:spcPct val="0"/>
      </a:spcAft>
      <a:defRPr sz="1600" kern="1200">
        <a:solidFill>
          <a:schemeClr val="tx1"/>
        </a:solidFill>
        <a:latin typeface="Verdana" pitchFamily="34" charset="0"/>
        <a:ea typeface="ＭＳ Ｐゴシック" pitchFamily="-80" charset="-128"/>
        <a:cs typeface="+mn-cs"/>
      </a:defRPr>
    </a:lvl4pPr>
    <a:lvl5pPr marL="1828800" algn="l" rtl="0" fontAlgn="base">
      <a:spcBef>
        <a:spcPct val="50000"/>
      </a:spcBef>
      <a:spcAft>
        <a:spcPct val="0"/>
      </a:spcAft>
      <a:defRPr sz="1600" kern="1200">
        <a:solidFill>
          <a:schemeClr val="tx1"/>
        </a:solidFill>
        <a:latin typeface="Verdana" pitchFamily="34" charset="0"/>
        <a:ea typeface="ＭＳ Ｐゴシック" pitchFamily="-80" charset="-128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Verdana" pitchFamily="34" charset="0"/>
        <a:ea typeface="ＭＳ Ｐゴシック" pitchFamily="-80" charset="-128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Verdana" pitchFamily="34" charset="0"/>
        <a:ea typeface="ＭＳ Ｐゴシック" pitchFamily="-80" charset="-128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Verdana" pitchFamily="34" charset="0"/>
        <a:ea typeface="ＭＳ Ｐゴシック" pitchFamily="-80" charset="-128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Verdana" pitchFamily="34" charset="0"/>
        <a:ea typeface="ＭＳ Ｐゴシック" pitchFamily="-80" charset="-128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990000"/>
    <a:srgbClr val="000000"/>
    <a:srgbClr val="FFCC00"/>
    <a:srgbClr val="FF6600"/>
    <a:srgbClr val="FF0000"/>
    <a:srgbClr val="FF0099"/>
    <a:srgbClr val="CC3399"/>
    <a:srgbClr val="660066"/>
    <a:srgbClr val="6600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010" autoAdjust="0"/>
    <p:restoredTop sz="97092" autoAdjust="0"/>
  </p:normalViewPr>
  <p:slideViewPr>
    <p:cSldViewPr showGuides="1">
      <p:cViewPr varScale="1">
        <p:scale>
          <a:sx n="65" d="100"/>
          <a:sy n="65" d="100"/>
        </p:scale>
        <p:origin x="532" y="40"/>
      </p:cViewPr>
      <p:guideLst/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 showGuides="1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customXml" Target="../customXml/item7.xml"/><Relationship Id="rId12" Type="http://schemas.openxmlformats.org/officeDocument/2006/relationships/slide" Target="slides/slide2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slide" Target="slides/slide1.xml"/><Relationship Id="rId5" Type="http://schemas.openxmlformats.org/officeDocument/2006/relationships/customXml" Target="../customXml/item5.xml"/><Relationship Id="rId15" Type="http://schemas.openxmlformats.org/officeDocument/2006/relationships/tags" Target="tags/tag1.xml"/><Relationship Id="rId10" Type="http://schemas.openxmlformats.org/officeDocument/2006/relationships/slideMaster" Target="slideMasters/slideMaster1.xml"/><Relationship Id="rId19" Type="http://schemas.openxmlformats.org/officeDocument/2006/relationships/tableStyles" Target="tableStyles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9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0"/>
              </a:spcBef>
              <a:defRPr sz="1200"/>
            </a:lvl1pPr>
          </a:lstStyle>
          <a:p>
            <a:endParaRPr lang="da-DK" dirty="0">
              <a:latin typeface="Arial" panose="020B0604020202020204" pitchFamily="34" charset="0"/>
            </a:endParaRPr>
          </a:p>
        </p:txBody>
      </p:sp>
      <p:sp>
        <p:nvSpPr>
          <p:cNvPr id="6349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0" hangingPunct="0">
              <a:spcBef>
                <a:spcPct val="0"/>
              </a:spcBef>
              <a:defRPr sz="1200"/>
            </a:lvl1pPr>
          </a:lstStyle>
          <a:p>
            <a:endParaRPr lang="da-DK" dirty="0">
              <a:latin typeface="Arial" panose="020B0604020202020204" pitchFamily="34" charset="0"/>
            </a:endParaRPr>
          </a:p>
        </p:txBody>
      </p:sp>
      <p:sp>
        <p:nvSpPr>
          <p:cNvPr id="6349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0"/>
              </a:spcBef>
              <a:defRPr sz="1200"/>
            </a:lvl1pPr>
          </a:lstStyle>
          <a:p>
            <a:endParaRPr lang="da-DK" dirty="0">
              <a:latin typeface="Arial" panose="020B0604020202020204" pitchFamily="34" charset="0"/>
            </a:endParaRPr>
          </a:p>
        </p:txBody>
      </p:sp>
      <p:sp>
        <p:nvSpPr>
          <p:cNvPr id="6349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0" hangingPunct="0">
              <a:spcBef>
                <a:spcPct val="0"/>
              </a:spcBef>
              <a:defRPr sz="1200"/>
            </a:lvl1pPr>
          </a:lstStyle>
          <a:p>
            <a:fld id="{491ECFBD-4A0D-4BCF-98A8-E205F44719BF}" type="slidenum">
              <a:rPr lang="da-DK" smtClean="0">
                <a:latin typeface="Arial" panose="020B0604020202020204" pitchFamily="34" charset="0"/>
              </a:rPr>
              <a:pPr/>
              <a:t>‹#›</a:t>
            </a:fld>
            <a:endParaRPr lang="da-DK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7280994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0"/>
              </a:spcBef>
              <a:defRPr sz="1200">
                <a:latin typeface="Arial" panose="020B0604020202020204" pitchFamily="34" charset="0"/>
              </a:defRPr>
            </a:lvl1pPr>
          </a:lstStyle>
          <a:p>
            <a:endParaRPr lang="da-DK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6200" y="0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0" hangingPunct="0">
              <a:spcBef>
                <a:spcPct val="0"/>
              </a:spcBef>
              <a:defRPr sz="1200">
                <a:latin typeface="Arial" panose="020B0604020202020204" pitchFamily="34" charset="0"/>
              </a:defRPr>
            </a:lvl1pPr>
          </a:lstStyle>
          <a:p>
            <a:endParaRPr lang="da-DK" dirty="0"/>
          </a:p>
        </p:txBody>
      </p:sp>
      <p:sp>
        <p:nvSpPr>
          <p:cNvPr id="307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382588" y="685800"/>
            <a:ext cx="6092825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307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14400" y="4343400"/>
            <a:ext cx="5029200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edit</a:t>
            </a:r>
            <a:r>
              <a:rPr lang="da-DK" dirty="0"/>
              <a:t> Master </a:t>
            </a:r>
            <a:r>
              <a:rPr lang="da-DK" dirty="0" err="1"/>
              <a:t>text</a:t>
            </a:r>
            <a:r>
              <a:rPr lang="da-DK" dirty="0"/>
              <a:t> </a:t>
            </a:r>
            <a:r>
              <a:rPr lang="da-DK" dirty="0" err="1"/>
              <a:t>styles</a:t>
            </a:r>
            <a:endParaRPr lang="da-DK" dirty="0"/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6800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0"/>
              </a:spcBef>
              <a:defRPr sz="1200">
                <a:latin typeface="Arial" panose="020B0604020202020204" pitchFamily="34" charset="0"/>
              </a:defRPr>
            </a:lvl1pPr>
          </a:lstStyle>
          <a:p>
            <a:endParaRPr lang="da-DK" dirty="0"/>
          </a:p>
        </p:txBody>
      </p:sp>
      <p:sp>
        <p:nvSpPr>
          <p:cNvPr id="307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6200" y="8686800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0" hangingPunct="0">
              <a:spcBef>
                <a:spcPct val="0"/>
              </a:spcBef>
              <a:defRPr sz="1200">
                <a:latin typeface="Arial" panose="020B0604020202020204" pitchFamily="34" charset="0"/>
              </a:defRPr>
            </a:lvl1pPr>
          </a:lstStyle>
          <a:p>
            <a:fld id="{C734BB09-483B-4C4B-A5A4-C02A22055B01}" type="slidenum">
              <a:rPr lang="da-DK" smtClean="0"/>
              <a:pPr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27783607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ＭＳ Ｐゴシック" pitchFamily="-80" charset="-128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ＭＳ Ｐゴシック" pitchFamily="-80" charset="-128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ＭＳ Ｐゴシック" pitchFamily="-80" charset="-128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ＭＳ Ｐゴシック" pitchFamily="-80" charset="-128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ＭＳ Ｐゴシック" pitchFamily="-80" charset="-128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34BB09-483B-4C4B-A5A4-C02A22055B01}" type="slidenum">
              <a:rPr lang="da-DK" smtClean="0"/>
              <a:pPr/>
              <a:t>1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6052390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94E69C-C28A-4BE6-BE89-71D8FB2035FD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36476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A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/>
          <p:cNvSpPr/>
          <p:nvPr userDrawn="1"/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rgbClr val="99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ＭＳ Ｐゴシック" pitchFamily="-80" charset="-128"/>
            </a:endParaRPr>
          </a:p>
        </p:txBody>
      </p:sp>
      <p:sp>
        <p:nvSpPr>
          <p:cNvPr id="11" name="Logo white">
            <a:extLst>
              <a:ext uri="{FF2B5EF4-FFF2-40B4-BE49-F238E27FC236}">
                <a16:creationId xmlns:a16="http://schemas.microsoft.com/office/drawing/2014/main" id="{275A6477-FE3A-4D40-B1FE-E46C11E344A5}"/>
              </a:ext>
            </a:extLst>
          </p:cNvPr>
          <p:cNvSpPr>
            <a:spLocks noChangeAspect="1"/>
          </p:cNvSpPr>
          <p:nvPr userDrawn="1">
            <p:custDataLst>
              <p:tags r:id="rId1"/>
            </p:custDataLst>
          </p:nvPr>
        </p:nvSpPr>
        <p:spPr bwMode="auto">
          <a:xfrm>
            <a:off x="252000" y="252000"/>
            <a:ext cx="419611" cy="612000"/>
          </a:xfrm>
          <a:custGeom>
            <a:avLst/>
            <a:gdLst>
              <a:gd name="connsiteX0" fmla="*/ 1050029 w 4933949"/>
              <a:gd name="connsiteY0" fmla="*/ 6094413 h 7196138"/>
              <a:gd name="connsiteX1" fmla="*/ 3883920 w 4933949"/>
              <a:gd name="connsiteY1" fmla="*/ 6094413 h 7196138"/>
              <a:gd name="connsiteX2" fmla="*/ 4933949 w 4933949"/>
              <a:gd name="connsiteY2" fmla="*/ 6645934 h 7196138"/>
              <a:gd name="connsiteX3" fmla="*/ 3883920 w 4933949"/>
              <a:gd name="connsiteY3" fmla="*/ 7196138 h 7196138"/>
              <a:gd name="connsiteX4" fmla="*/ 1050029 w 4933949"/>
              <a:gd name="connsiteY4" fmla="*/ 7196138 h 7196138"/>
              <a:gd name="connsiteX5" fmla="*/ 0 w 4933949"/>
              <a:gd name="connsiteY5" fmla="*/ 6645934 h 7196138"/>
              <a:gd name="connsiteX6" fmla="*/ 1050029 w 4933949"/>
              <a:gd name="connsiteY6" fmla="*/ 6094413 h 7196138"/>
              <a:gd name="connsiteX7" fmla="*/ 1050029 w 4933949"/>
              <a:gd name="connsiteY7" fmla="*/ 4730750 h 7196138"/>
              <a:gd name="connsiteX8" fmla="*/ 3883920 w 4933949"/>
              <a:gd name="connsiteY8" fmla="*/ 4730750 h 7196138"/>
              <a:gd name="connsiteX9" fmla="*/ 4933949 w 4933949"/>
              <a:gd name="connsiteY9" fmla="*/ 5283066 h 7196138"/>
              <a:gd name="connsiteX10" fmla="*/ 3883920 w 4933949"/>
              <a:gd name="connsiteY10" fmla="*/ 5834063 h 7196138"/>
              <a:gd name="connsiteX11" fmla="*/ 1050029 w 4933949"/>
              <a:gd name="connsiteY11" fmla="*/ 5834063 h 7196138"/>
              <a:gd name="connsiteX12" fmla="*/ 0 w 4933949"/>
              <a:gd name="connsiteY12" fmla="*/ 5283066 h 7196138"/>
              <a:gd name="connsiteX13" fmla="*/ 1050029 w 4933949"/>
              <a:gd name="connsiteY13" fmla="*/ 4730750 h 7196138"/>
              <a:gd name="connsiteX14" fmla="*/ 1050029 w 4933949"/>
              <a:gd name="connsiteY14" fmla="*/ 3368675 h 7196138"/>
              <a:gd name="connsiteX15" fmla="*/ 3883920 w 4933949"/>
              <a:gd name="connsiteY15" fmla="*/ 3368675 h 7196138"/>
              <a:gd name="connsiteX16" fmla="*/ 4933949 w 4933949"/>
              <a:gd name="connsiteY16" fmla="*/ 3920991 h 7196138"/>
              <a:gd name="connsiteX17" fmla="*/ 3883920 w 4933949"/>
              <a:gd name="connsiteY17" fmla="*/ 4471988 h 7196138"/>
              <a:gd name="connsiteX18" fmla="*/ 1050029 w 4933949"/>
              <a:gd name="connsiteY18" fmla="*/ 4471988 h 7196138"/>
              <a:gd name="connsiteX19" fmla="*/ 0 w 4933949"/>
              <a:gd name="connsiteY19" fmla="*/ 3920991 h 7196138"/>
              <a:gd name="connsiteX20" fmla="*/ 1050029 w 4933949"/>
              <a:gd name="connsiteY20" fmla="*/ 3368675 h 7196138"/>
              <a:gd name="connsiteX21" fmla="*/ 678543 w 4933949"/>
              <a:gd name="connsiteY21" fmla="*/ 305710 h 7196138"/>
              <a:gd name="connsiteX22" fmla="*/ 678543 w 4933949"/>
              <a:gd name="connsiteY22" fmla="*/ 2307316 h 7196138"/>
              <a:gd name="connsiteX23" fmla="*/ 909109 w 4933949"/>
              <a:gd name="connsiteY23" fmla="*/ 2307316 h 7196138"/>
              <a:gd name="connsiteX24" fmla="*/ 1119911 w 4933949"/>
              <a:gd name="connsiteY24" fmla="*/ 2234842 h 7196138"/>
              <a:gd name="connsiteX25" fmla="*/ 1198962 w 4933949"/>
              <a:gd name="connsiteY25" fmla="*/ 1615517 h 7196138"/>
              <a:gd name="connsiteX26" fmla="*/ 1198962 w 4933949"/>
              <a:gd name="connsiteY26" fmla="*/ 996191 h 7196138"/>
              <a:gd name="connsiteX27" fmla="*/ 1119911 w 4933949"/>
              <a:gd name="connsiteY27" fmla="*/ 378184 h 7196138"/>
              <a:gd name="connsiteX28" fmla="*/ 909109 w 4933949"/>
              <a:gd name="connsiteY28" fmla="*/ 305710 h 7196138"/>
              <a:gd name="connsiteX29" fmla="*/ 678543 w 4933949"/>
              <a:gd name="connsiteY29" fmla="*/ 305710 h 7196138"/>
              <a:gd name="connsiteX30" fmla="*/ 1842869 w 4933949"/>
              <a:gd name="connsiteY30" fmla="*/ 0 h 7196138"/>
              <a:gd name="connsiteX31" fmla="*/ 3073618 w 4933949"/>
              <a:gd name="connsiteY31" fmla="*/ 0 h 7196138"/>
              <a:gd name="connsiteX32" fmla="*/ 3114467 w 4933949"/>
              <a:gd name="connsiteY32" fmla="*/ 14495 h 7196138"/>
              <a:gd name="connsiteX33" fmla="*/ 3128962 w 4933949"/>
              <a:gd name="connsiteY33" fmla="*/ 54027 h 7196138"/>
              <a:gd name="connsiteX34" fmla="*/ 3128962 w 4933949"/>
              <a:gd name="connsiteY34" fmla="*/ 275402 h 7196138"/>
              <a:gd name="connsiteX35" fmla="*/ 3114467 w 4933949"/>
              <a:gd name="connsiteY35" fmla="*/ 314934 h 7196138"/>
              <a:gd name="connsiteX36" fmla="*/ 3073618 w 4933949"/>
              <a:gd name="connsiteY36" fmla="*/ 329429 h 7196138"/>
              <a:gd name="connsiteX37" fmla="*/ 2679620 w 4933949"/>
              <a:gd name="connsiteY37" fmla="*/ 329429 h 7196138"/>
              <a:gd name="connsiteX38" fmla="*/ 2679620 w 4933949"/>
              <a:gd name="connsiteY38" fmla="*/ 2558999 h 7196138"/>
              <a:gd name="connsiteX39" fmla="*/ 2665125 w 4933949"/>
              <a:gd name="connsiteY39" fmla="*/ 2598530 h 7196138"/>
              <a:gd name="connsiteX40" fmla="*/ 2625594 w 4933949"/>
              <a:gd name="connsiteY40" fmla="*/ 2613025 h 7196138"/>
              <a:gd name="connsiteX41" fmla="*/ 2290893 w 4933949"/>
              <a:gd name="connsiteY41" fmla="*/ 2613025 h 7196138"/>
              <a:gd name="connsiteX42" fmla="*/ 2250044 w 4933949"/>
              <a:gd name="connsiteY42" fmla="*/ 2598530 h 7196138"/>
              <a:gd name="connsiteX43" fmla="*/ 2235549 w 4933949"/>
              <a:gd name="connsiteY43" fmla="*/ 2558999 h 7196138"/>
              <a:gd name="connsiteX44" fmla="*/ 2235549 w 4933949"/>
              <a:gd name="connsiteY44" fmla="*/ 329429 h 7196138"/>
              <a:gd name="connsiteX45" fmla="*/ 1842869 w 4933949"/>
              <a:gd name="connsiteY45" fmla="*/ 329429 h 7196138"/>
              <a:gd name="connsiteX46" fmla="*/ 1802020 w 4933949"/>
              <a:gd name="connsiteY46" fmla="*/ 314934 h 7196138"/>
              <a:gd name="connsiteX47" fmla="*/ 1787525 w 4933949"/>
              <a:gd name="connsiteY47" fmla="*/ 275402 h 7196138"/>
              <a:gd name="connsiteX48" fmla="*/ 1787525 w 4933949"/>
              <a:gd name="connsiteY48" fmla="*/ 54027 h 7196138"/>
              <a:gd name="connsiteX49" fmla="*/ 1802020 w 4933949"/>
              <a:gd name="connsiteY49" fmla="*/ 14495 h 7196138"/>
              <a:gd name="connsiteX50" fmla="*/ 1842869 w 4933949"/>
              <a:gd name="connsiteY50" fmla="*/ 0 h 7196138"/>
              <a:gd name="connsiteX51" fmla="*/ 317544 w 4933949"/>
              <a:gd name="connsiteY51" fmla="*/ 0 h 7196138"/>
              <a:gd name="connsiteX52" fmla="*/ 972349 w 4933949"/>
              <a:gd name="connsiteY52" fmla="*/ 0 h 7196138"/>
              <a:gd name="connsiteX53" fmla="*/ 1476958 w 4933949"/>
              <a:gd name="connsiteY53" fmla="*/ 179209 h 7196138"/>
              <a:gd name="connsiteX54" fmla="*/ 1619250 w 4933949"/>
              <a:gd name="connsiteY54" fmla="*/ 1025181 h 7196138"/>
              <a:gd name="connsiteX55" fmla="*/ 1619250 w 4933949"/>
              <a:gd name="connsiteY55" fmla="*/ 1587845 h 7196138"/>
              <a:gd name="connsiteX56" fmla="*/ 1476958 w 4933949"/>
              <a:gd name="connsiteY56" fmla="*/ 2433816 h 7196138"/>
              <a:gd name="connsiteX57" fmla="*/ 972349 w 4933949"/>
              <a:gd name="connsiteY57" fmla="*/ 2613025 h 7196138"/>
              <a:gd name="connsiteX58" fmla="*/ 317544 w 4933949"/>
              <a:gd name="connsiteY58" fmla="*/ 2613025 h 7196138"/>
              <a:gd name="connsiteX59" fmla="*/ 278018 w 4933949"/>
              <a:gd name="connsiteY59" fmla="*/ 2598530 h 7196138"/>
              <a:gd name="connsiteX60" fmla="*/ 263525 w 4933949"/>
              <a:gd name="connsiteY60" fmla="*/ 2558999 h 7196138"/>
              <a:gd name="connsiteX61" fmla="*/ 263525 w 4933949"/>
              <a:gd name="connsiteY61" fmla="*/ 54027 h 7196138"/>
              <a:gd name="connsiteX62" fmla="*/ 278018 w 4933949"/>
              <a:gd name="connsiteY62" fmla="*/ 14495 h 7196138"/>
              <a:gd name="connsiteX63" fmla="*/ 317544 w 4933949"/>
              <a:gd name="connsiteY63" fmla="*/ 0 h 7196138"/>
              <a:gd name="connsiteX64" fmla="*/ 3359213 w 4933949"/>
              <a:gd name="connsiteY64" fmla="*/ 0 h 7196138"/>
              <a:gd name="connsiteX65" fmla="*/ 3664991 w 4933949"/>
              <a:gd name="connsiteY65" fmla="*/ 0 h 7196138"/>
              <a:gd name="connsiteX66" fmla="*/ 3705850 w 4933949"/>
              <a:gd name="connsiteY66" fmla="*/ 14497 h 7196138"/>
              <a:gd name="connsiteX67" fmla="*/ 3720348 w 4933949"/>
              <a:gd name="connsiteY67" fmla="*/ 54035 h 7196138"/>
              <a:gd name="connsiteX68" fmla="*/ 3720348 w 4933949"/>
              <a:gd name="connsiteY68" fmla="*/ 1903062 h 7196138"/>
              <a:gd name="connsiteX69" fmla="*/ 3798111 w 4933949"/>
              <a:gd name="connsiteY69" fmla="*/ 2279984 h 7196138"/>
              <a:gd name="connsiteX70" fmla="*/ 3976042 w 4933949"/>
              <a:gd name="connsiteY70" fmla="*/ 2349833 h 7196138"/>
              <a:gd name="connsiteX71" fmla="*/ 4163200 w 4933949"/>
              <a:gd name="connsiteY71" fmla="*/ 2279984 h 7196138"/>
              <a:gd name="connsiteX72" fmla="*/ 4240963 w 4933949"/>
              <a:gd name="connsiteY72" fmla="*/ 1903062 h 7196138"/>
              <a:gd name="connsiteX73" fmla="*/ 4240963 w 4933949"/>
              <a:gd name="connsiteY73" fmla="*/ 54035 h 7196138"/>
              <a:gd name="connsiteX74" fmla="*/ 4255461 w 4933949"/>
              <a:gd name="connsiteY74" fmla="*/ 14497 h 7196138"/>
              <a:gd name="connsiteX75" fmla="*/ 4295001 w 4933949"/>
              <a:gd name="connsiteY75" fmla="*/ 0 h 7196138"/>
              <a:gd name="connsiteX76" fmla="*/ 4602098 w 4933949"/>
              <a:gd name="connsiteY76" fmla="*/ 0 h 7196138"/>
              <a:gd name="connsiteX77" fmla="*/ 4641638 w 4933949"/>
              <a:gd name="connsiteY77" fmla="*/ 14497 h 7196138"/>
              <a:gd name="connsiteX78" fmla="*/ 4656136 w 4933949"/>
              <a:gd name="connsiteY78" fmla="*/ 54035 h 7196138"/>
              <a:gd name="connsiteX79" fmla="*/ 4656136 w 4933949"/>
              <a:gd name="connsiteY79" fmla="*/ 1904380 h 7196138"/>
              <a:gd name="connsiteX80" fmla="*/ 4507201 w 4933949"/>
              <a:gd name="connsiteY80" fmla="*/ 2459220 h 7196138"/>
              <a:gd name="connsiteX81" fmla="*/ 3981314 w 4933949"/>
              <a:gd name="connsiteY81" fmla="*/ 2646363 h 7196138"/>
              <a:gd name="connsiteX82" fmla="*/ 3447519 w 4933949"/>
              <a:gd name="connsiteY82" fmla="*/ 2459220 h 7196138"/>
              <a:gd name="connsiteX83" fmla="*/ 3305174 w 4933949"/>
              <a:gd name="connsiteY83" fmla="*/ 1904380 h 7196138"/>
              <a:gd name="connsiteX84" fmla="*/ 3305174 w 4933949"/>
              <a:gd name="connsiteY84" fmla="*/ 54035 h 7196138"/>
              <a:gd name="connsiteX85" fmla="*/ 3318354 w 4933949"/>
              <a:gd name="connsiteY85" fmla="*/ 14497 h 7196138"/>
              <a:gd name="connsiteX86" fmla="*/ 3359213 w 4933949"/>
              <a:gd name="connsiteY86" fmla="*/ 0 h 7196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</a:cxnLst>
            <a:rect l="l" t="t" r="r" b="b"/>
            <a:pathLst>
              <a:path w="4933949" h="7196138">
                <a:moveTo>
                  <a:pt x="1050029" y="6094413"/>
                </a:moveTo>
                <a:cubicBezTo>
                  <a:pt x="2409664" y="6623557"/>
                  <a:pt x="2524285" y="6623557"/>
                  <a:pt x="3883920" y="6094413"/>
                </a:cubicBezTo>
                <a:cubicBezTo>
                  <a:pt x="3883920" y="6094413"/>
                  <a:pt x="3883920" y="6094413"/>
                  <a:pt x="4933949" y="6645934"/>
                </a:cubicBezTo>
                <a:cubicBezTo>
                  <a:pt x="4933949" y="6645934"/>
                  <a:pt x="4933949" y="6645934"/>
                  <a:pt x="3883920" y="7196138"/>
                </a:cubicBezTo>
                <a:cubicBezTo>
                  <a:pt x="2524285" y="6668311"/>
                  <a:pt x="2409664" y="6668311"/>
                  <a:pt x="1050029" y="7196138"/>
                </a:cubicBezTo>
                <a:cubicBezTo>
                  <a:pt x="1050029" y="7196138"/>
                  <a:pt x="1050029" y="7196138"/>
                  <a:pt x="0" y="6645934"/>
                </a:cubicBezTo>
                <a:cubicBezTo>
                  <a:pt x="0" y="6645934"/>
                  <a:pt x="0" y="6645934"/>
                  <a:pt x="1050029" y="6094413"/>
                </a:cubicBezTo>
                <a:close/>
                <a:moveTo>
                  <a:pt x="1050029" y="4730750"/>
                </a:moveTo>
                <a:cubicBezTo>
                  <a:pt x="2409664" y="5260657"/>
                  <a:pt x="2524285" y="5260657"/>
                  <a:pt x="3883920" y="4730750"/>
                </a:cubicBezTo>
                <a:cubicBezTo>
                  <a:pt x="3883920" y="4730750"/>
                  <a:pt x="3883920" y="4730750"/>
                  <a:pt x="4933949" y="5283066"/>
                </a:cubicBezTo>
                <a:cubicBezTo>
                  <a:pt x="4933949" y="5283066"/>
                  <a:pt x="4933949" y="5283066"/>
                  <a:pt x="3883920" y="5834063"/>
                </a:cubicBezTo>
                <a:cubicBezTo>
                  <a:pt x="2524285" y="5305475"/>
                  <a:pt x="2409664" y="5305475"/>
                  <a:pt x="1050029" y="5834063"/>
                </a:cubicBezTo>
                <a:cubicBezTo>
                  <a:pt x="1050029" y="5834063"/>
                  <a:pt x="1050029" y="5834063"/>
                  <a:pt x="0" y="5283066"/>
                </a:cubicBezTo>
                <a:cubicBezTo>
                  <a:pt x="0" y="5283066"/>
                  <a:pt x="0" y="5283066"/>
                  <a:pt x="1050029" y="4730750"/>
                </a:cubicBezTo>
                <a:close/>
                <a:moveTo>
                  <a:pt x="1050029" y="3368675"/>
                </a:moveTo>
                <a:cubicBezTo>
                  <a:pt x="2409664" y="3898582"/>
                  <a:pt x="2524285" y="3898582"/>
                  <a:pt x="3883920" y="3368675"/>
                </a:cubicBezTo>
                <a:cubicBezTo>
                  <a:pt x="3883920" y="3368675"/>
                  <a:pt x="3883920" y="3368675"/>
                  <a:pt x="4933949" y="3920991"/>
                </a:cubicBezTo>
                <a:cubicBezTo>
                  <a:pt x="4933949" y="3920991"/>
                  <a:pt x="4933949" y="3920991"/>
                  <a:pt x="3883920" y="4471988"/>
                </a:cubicBezTo>
                <a:cubicBezTo>
                  <a:pt x="2524285" y="3943400"/>
                  <a:pt x="2409664" y="3943400"/>
                  <a:pt x="1050029" y="4471988"/>
                </a:cubicBezTo>
                <a:cubicBezTo>
                  <a:pt x="1050029" y="4471988"/>
                  <a:pt x="1050029" y="4471988"/>
                  <a:pt x="0" y="3920991"/>
                </a:cubicBezTo>
                <a:cubicBezTo>
                  <a:pt x="0" y="3920991"/>
                  <a:pt x="0" y="3920991"/>
                  <a:pt x="1050029" y="3368675"/>
                </a:cubicBezTo>
                <a:close/>
                <a:moveTo>
                  <a:pt x="678543" y="305710"/>
                </a:moveTo>
                <a:lnTo>
                  <a:pt x="678543" y="2307316"/>
                </a:lnTo>
                <a:cubicBezTo>
                  <a:pt x="678543" y="2307316"/>
                  <a:pt x="678543" y="2307316"/>
                  <a:pt x="909109" y="2307316"/>
                </a:cubicBezTo>
                <a:cubicBezTo>
                  <a:pt x="1011875" y="2307316"/>
                  <a:pt x="1072481" y="2291503"/>
                  <a:pt x="1119911" y="2234842"/>
                </a:cubicBezTo>
                <a:cubicBezTo>
                  <a:pt x="1192375" y="2147873"/>
                  <a:pt x="1198962" y="1971299"/>
                  <a:pt x="1198962" y="1615517"/>
                </a:cubicBezTo>
                <a:cubicBezTo>
                  <a:pt x="1198962" y="1615517"/>
                  <a:pt x="1198962" y="1615517"/>
                  <a:pt x="1198962" y="996191"/>
                </a:cubicBezTo>
                <a:cubicBezTo>
                  <a:pt x="1198962" y="641727"/>
                  <a:pt x="1192375" y="465153"/>
                  <a:pt x="1119911" y="378184"/>
                </a:cubicBezTo>
                <a:cubicBezTo>
                  <a:pt x="1072481" y="321522"/>
                  <a:pt x="1011875" y="305710"/>
                  <a:pt x="909109" y="305710"/>
                </a:cubicBezTo>
                <a:cubicBezTo>
                  <a:pt x="909109" y="305710"/>
                  <a:pt x="909109" y="305710"/>
                  <a:pt x="678543" y="305710"/>
                </a:cubicBezTo>
                <a:close/>
                <a:moveTo>
                  <a:pt x="1842869" y="0"/>
                </a:moveTo>
                <a:cubicBezTo>
                  <a:pt x="1842869" y="0"/>
                  <a:pt x="1842869" y="0"/>
                  <a:pt x="3073618" y="0"/>
                </a:cubicBezTo>
                <a:cubicBezTo>
                  <a:pt x="3093384" y="0"/>
                  <a:pt x="3105243" y="5271"/>
                  <a:pt x="3114467" y="14495"/>
                </a:cubicBezTo>
                <a:cubicBezTo>
                  <a:pt x="3122374" y="22401"/>
                  <a:pt x="3128962" y="34261"/>
                  <a:pt x="3128962" y="54027"/>
                </a:cubicBezTo>
                <a:cubicBezTo>
                  <a:pt x="3128962" y="54027"/>
                  <a:pt x="3128962" y="54027"/>
                  <a:pt x="3128962" y="275402"/>
                </a:cubicBezTo>
                <a:cubicBezTo>
                  <a:pt x="3128962" y="295168"/>
                  <a:pt x="3122374" y="307028"/>
                  <a:pt x="3114467" y="314934"/>
                </a:cubicBezTo>
                <a:cubicBezTo>
                  <a:pt x="3105243" y="324158"/>
                  <a:pt x="3093384" y="329429"/>
                  <a:pt x="3073618" y="329429"/>
                </a:cubicBezTo>
                <a:cubicBezTo>
                  <a:pt x="3073618" y="329429"/>
                  <a:pt x="3073618" y="329429"/>
                  <a:pt x="2679620" y="329429"/>
                </a:cubicBezTo>
                <a:cubicBezTo>
                  <a:pt x="2679620" y="329429"/>
                  <a:pt x="2679620" y="329429"/>
                  <a:pt x="2679620" y="2558999"/>
                </a:cubicBezTo>
                <a:cubicBezTo>
                  <a:pt x="2679620" y="2578765"/>
                  <a:pt x="2674349" y="2590624"/>
                  <a:pt x="2665125" y="2598530"/>
                </a:cubicBezTo>
                <a:cubicBezTo>
                  <a:pt x="2657219" y="2607755"/>
                  <a:pt x="2645360" y="2613025"/>
                  <a:pt x="2625594" y="2613025"/>
                </a:cubicBezTo>
                <a:cubicBezTo>
                  <a:pt x="2625594" y="2613025"/>
                  <a:pt x="2625594" y="2613025"/>
                  <a:pt x="2290893" y="2613025"/>
                </a:cubicBezTo>
                <a:cubicBezTo>
                  <a:pt x="2271128" y="2613025"/>
                  <a:pt x="2259268" y="2607755"/>
                  <a:pt x="2250044" y="2598530"/>
                </a:cubicBezTo>
                <a:cubicBezTo>
                  <a:pt x="2240820" y="2590624"/>
                  <a:pt x="2235549" y="2578765"/>
                  <a:pt x="2235549" y="2558999"/>
                </a:cubicBezTo>
                <a:cubicBezTo>
                  <a:pt x="2235549" y="2558999"/>
                  <a:pt x="2235549" y="2558999"/>
                  <a:pt x="2235549" y="329429"/>
                </a:cubicBezTo>
                <a:cubicBezTo>
                  <a:pt x="2235549" y="329429"/>
                  <a:pt x="2235549" y="329429"/>
                  <a:pt x="1842869" y="329429"/>
                </a:cubicBezTo>
                <a:cubicBezTo>
                  <a:pt x="1823104" y="329429"/>
                  <a:pt x="1811244" y="324158"/>
                  <a:pt x="1802020" y="314934"/>
                </a:cubicBezTo>
                <a:cubicBezTo>
                  <a:pt x="1792796" y="307028"/>
                  <a:pt x="1787525" y="295168"/>
                  <a:pt x="1787525" y="275402"/>
                </a:cubicBezTo>
                <a:cubicBezTo>
                  <a:pt x="1787525" y="275402"/>
                  <a:pt x="1787525" y="275402"/>
                  <a:pt x="1787525" y="54027"/>
                </a:cubicBezTo>
                <a:cubicBezTo>
                  <a:pt x="1787525" y="34261"/>
                  <a:pt x="1792796" y="22401"/>
                  <a:pt x="1802020" y="14495"/>
                </a:cubicBezTo>
                <a:cubicBezTo>
                  <a:pt x="1811244" y="5271"/>
                  <a:pt x="1823104" y="0"/>
                  <a:pt x="1842869" y="0"/>
                </a:cubicBezTo>
                <a:close/>
                <a:moveTo>
                  <a:pt x="317544" y="0"/>
                </a:moveTo>
                <a:cubicBezTo>
                  <a:pt x="317544" y="0"/>
                  <a:pt x="317544" y="0"/>
                  <a:pt x="972349" y="0"/>
                </a:cubicBezTo>
                <a:cubicBezTo>
                  <a:pt x="1226630" y="0"/>
                  <a:pt x="1382097" y="57980"/>
                  <a:pt x="1476958" y="179209"/>
                </a:cubicBezTo>
                <a:cubicBezTo>
                  <a:pt x="1615298" y="345241"/>
                  <a:pt x="1619250" y="614055"/>
                  <a:pt x="1619250" y="1025181"/>
                </a:cubicBezTo>
                <a:cubicBezTo>
                  <a:pt x="1619250" y="1025181"/>
                  <a:pt x="1619250" y="1025181"/>
                  <a:pt x="1619250" y="1587845"/>
                </a:cubicBezTo>
                <a:cubicBezTo>
                  <a:pt x="1619250" y="1998971"/>
                  <a:pt x="1615298" y="2267784"/>
                  <a:pt x="1476958" y="2433816"/>
                </a:cubicBezTo>
                <a:cubicBezTo>
                  <a:pt x="1382097" y="2555046"/>
                  <a:pt x="1226630" y="2613025"/>
                  <a:pt x="972349" y="2613025"/>
                </a:cubicBezTo>
                <a:cubicBezTo>
                  <a:pt x="972349" y="2613025"/>
                  <a:pt x="972349" y="2613025"/>
                  <a:pt x="317544" y="2613025"/>
                </a:cubicBezTo>
                <a:cubicBezTo>
                  <a:pt x="297781" y="2613025"/>
                  <a:pt x="285923" y="2607755"/>
                  <a:pt x="278018" y="2598530"/>
                </a:cubicBezTo>
                <a:cubicBezTo>
                  <a:pt x="268795" y="2590624"/>
                  <a:pt x="263525" y="2578765"/>
                  <a:pt x="263525" y="2558999"/>
                </a:cubicBezTo>
                <a:cubicBezTo>
                  <a:pt x="263525" y="2558999"/>
                  <a:pt x="263525" y="2558999"/>
                  <a:pt x="263525" y="54027"/>
                </a:cubicBezTo>
                <a:cubicBezTo>
                  <a:pt x="263525" y="34261"/>
                  <a:pt x="268795" y="22401"/>
                  <a:pt x="278018" y="14495"/>
                </a:cubicBezTo>
                <a:cubicBezTo>
                  <a:pt x="285923" y="5271"/>
                  <a:pt x="297781" y="0"/>
                  <a:pt x="317544" y="0"/>
                </a:cubicBezTo>
                <a:close/>
                <a:moveTo>
                  <a:pt x="3359213" y="0"/>
                </a:moveTo>
                <a:cubicBezTo>
                  <a:pt x="3359213" y="0"/>
                  <a:pt x="3359213" y="0"/>
                  <a:pt x="3664991" y="0"/>
                </a:cubicBezTo>
                <a:cubicBezTo>
                  <a:pt x="3684762" y="0"/>
                  <a:pt x="3696624" y="5272"/>
                  <a:pt x="3705850" y="14497"/>
                </a:cubicBezTo>
                <a:cubicBezTo>
                  <a:pt x="3715076" y="22405"/>
                  <a:pt x="3720348" y="34266"/>
                  <a:pt x="3720348" y="54035"/>
                </a:cubicBezTo>
                <a:cubicBezTo>
                  <a:pt x="3720348" y="54035"/>
                  <a:pt x="3720348" y="54035"/>
                  <a:pt x="3720348" y="1903062"/>
                </a:cubicBezTo>
                <a:cubicBezTo>
                  <a:pt x="3720348" y="2103384"/>
                  <a:pt x="3738800" y="2214089"/>
                  <a:pt x="3798111" y="2279984"/>
                </a:cubicBezTo>
                <a:cubicBezTo>
                  <a:pt x="3841605" y="2328747"/>
                  <a:pt x="3899597" y="2349833"/>
                  <a:pt x="3976042" y="2349833"/>
                </a:cubicBezTo>
                <a:cubicBezTo>
                  <a:pt x="4060395" y="2349833"/>
                  <a:pt x="4121023" y="2326111"/>
                  <a:pt x="4163200" y="2279984"/>
                </a:cubicBezTo>
                <a:cubicBezTo>
                  <a:pt x="4226464" y="2211453"/>
                  <a:pt x="4240963" y="2096795"/>
                  <a:pt x="4240963" y="1903062"/>
                </a:cubicBezTo>
                <a:cubicBezTo>
                  <a:pt x="4240963" y="1903062"/>
                  <a:pt x="4240963" y="1903062"/>
                  <a:pt x="4240963" y="54035"/>
                </a:cubicBezTo>
                <a:cubicBezTo>
                  <a:pt x="4240963" y="34266"/>
                  <a:pt x="4246235" y="22405"/>
                  <a:pt x="4255461" y="14497"/>
                </a:cubicBezTo>
                <a:cubicBezTo>
                  <a:pt x="4263369" y="5272"/>
                  <a:pt x="4276549" y="0"/>
                  <a:pt x="4295001" y="0"/>
                </a:cubicBezTo>
                <a:cubicBezTo>
                  <a:pt x="4295001" y="0"/>
                  <a:pt x="4295001" y="0"/>
                  <a:pt x="4602098" y="0"/>
                </a:cubicBezTo>
                <a:cubicBezTo>
                  <a:pt x="4621868" y="0"/>
                  <a:pt x="4633730" y="5272"/>
                  <a:pt x="4641638" y="14497"/>
                </a:cubicBezTo>
                <a:cubicBezTo>
                  <a:pt x="4650864" y="22405"/>
                  <a:pt x="4656136" y="34266"/>
                  <a:pt x="4656136" y="54035"/>
                </a:cubicBezTo>
                <a:cubicBezTo>
                  <a:pt x="4656136" y="54035"/>
                  <a:pt x="4656136" y="54035"/>
                  <a:pt x="4656136" y="1904380"/>
                </a:cubicBezTo>
                <a:cubicBezTo>
                  <a:pt x="4656136" y="2153465"/>
                  <a:pt x="4627140" y="2319521"/>
                  <a:pt x="4507201" y="2459220"/>
                </a:cubicBezTo>
                <a:cubicBezTo>
                  <a:pt x="4405714" y="2577832"/>
                  <a:pt x="4239645" y="2646363"/>
                  <a:pt x="3981314" y="2646363"/>
                </a:cubicBezTo>
                <a:cubicBezTo>
                  <a:pt x="3726938" y="2646363"/>
                  <a:pt x="3559550" y="2581786"/>
                  <a:pt x="3447519" y="2459220"/>
                </a:cubicBezTo>
                <a:cubicBezTo>
                  <a:pt x="3340760" y="2341926"/>
                  <a:pt x="3305174" y="2173233"/>
                  <a:pt x="3305174" y="1904380"/>
                </a:cubicBezTo>
                <a:cubicBezTo>
                  <a:pt x="3305174" y="1904380"/>
                  <a:pt x="3305174" y="1904380"/>
                  <a:pt x="3305174" y="54035"/>
                </a:cubicBezTo>
                <a:cubicBezTo>
                  <a:pt x="3305174" y="34266"/>
                  <a:pt x="3310446" y="22405"/>
                  <a:pt x="3318354" y="14497"/>
                </a:cubicBezTo>
                <a:cubicBezTo>
                  <a:pt x="3327580" y="5272"/>
                  <a:pt x="3339442" y="0"/>
                  <a:pt x="3359213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sp>
        <p:nvSpPr>
          <p:cNvPr id="11469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49859" y="3545117"/>
            <a:ext cx="10840028" cy="2706458"/>
          </a:xfrm>
        </p:spPr>
        <p:txBody>
          <a:bodyPr anchor="t" anchorCtr="0"/>
          <a:lstStyle>
            <a:lvl1pPr>
              <a:lnSpc>
                <a:spcPct val="93000"/>
              </a:lnSpc>
              <a:defRPr sz="8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11469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47072" y="1704975"/>
            <a:ext cx="10840028" cy="1660654"/>
          </a:xfrm>
        </p:spPr>
        <p:txBody>
          <a:bodyPr anchor="b" anchorCtr="0"/>
          <a:lstStyle>
            <a:lvl1pPr marL="0" indent="0">
              <a:lnSpc>
                <a:spcPct val="110000"/>
              </a:lnSpc>
              <a:spcBef>
                <a:spcPts val="0"/>
              </a:spcBef>
              <a:buFontTx/>
              <a:buNone/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GB" noProof="0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2117C6C-7BC3-4888-BC29-FAB17565D11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77E4668-D07F-4B96-9755-17540273485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03EA872-A674-449B-A120-B97244F8E91D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272145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56" userDrawn="1">
          <p15:clr>
            <a:srgbClr val="F26B43"/>
          </p15:clr>
        </p15:guide>
        <p15:guide id="2" pos="6984" userDrawn="1">
          <p15:clr>
            <a:srgbClr val="F26B43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ront/Pause A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">
            <a:extLst>
              <a:ext uri="{FF2B5EF4-FFF2-40B4-BE49-F238E27FC236}">
                <a16:creationId xmlns:a16="http://schemas.microsoft.com/office/drawing/2014/main" id="{AF9D3C51-A276-4E1F-B6B6-FD6A4E17EE28}"/>
              </a:ext>
            </a:extLst>
          </p:cNvPr>
          <p:cNvSpPr/>
          <p:nvPr userDrawn="1"/>
        </p:nvSpPr>
        <p:spPr bwMode="auto">
          <a:xfrm>
            <a:off x="0" y="0"/>
            <a:ext cx="12193200" cy="68616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ＭＳ Ｐゴシック" pitchFamily="-80" charset="-128"/>
            </a:endParaRPr>
          </a:p>
        </p:txBody>
      </p:sp>
      <p:sp>
        <p:nvSpPr>
          <p:cNvPr id="4" name="Date Placeholder 2">
            <a:extLst>
              <a:ext uri="{FF2B5EF4-FFF2-40B4-BE49-F238E27FC236}">
                <a16:creationId xmlns:a16="http://schemas.microsoft.com/office/drawing/2014/main" id="{C9776080-6230-4AB8-AB28-4D6744DD01F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GB" dirty="0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2B7FFAE6-D148-4A15-9DFC-7D71B82020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3125B57E-AFC7-4517-B327-461DB01D28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 flipV="1"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Logo color">
            <a:extLst>
              <a:ext uri="{FF2B5EF4-FFF2-40B4-BE49-F238E27FC236}">
                <a16:creationId xmlns:a16="http://schemas.microsoft.com/office/drawing/2014/main" id="{B0EE486B-843B-49D6-90AE-5093AB56E30F}"/>
              </a:ext>
            </a:extLst>
          </p:cNvPr>
          <p:cNvSpPr>
            <a:spLocks noChangeAspect="1"/>
          </p:cNvSpPr>
          <p:nvPr userDrawn="1">
            <p:custDataLst>
              <p:tags r:id="rId1"/>
            </p:custDataLst>
          </p:nvPr>
        </p:nvSpPr>
        <p:spPr bwMode="auto">
          <a:xfrm>
            <a:off x="4870539" y="1651373"/>
            <a:ext cx="2388323" cy="3483354"/>
          </a:xfrm>
          <a:custGeom>
            <a:avLst/>
            <a:gdLst>
              <a:gd name="connsiteX0" fmla="*/ 1050029 w 4933949"/>
              <a:gd name="connsiteY0" fmla="*/ 6094413 h 7196138"/>
              <a:gd name="connsiteX1" fmla="*/ 3883920 w 4933949"/>
              <a:gd name="connsiteY1" fmla="*/ 6094413 h 7196138"/>
              <a:gd name="connsiteX2" fmla="*/ 4933949 w 4933949"/>
              <a:gd name="connsiteY2" fmla="*/ 6645934 h 7196138"/>
              <a:gd name="connsiteX3" fmla="*/ 3883920 w 4933949"/>
              <a:gd name="connsiteY3" fmla="*/ 7196138 h 7196138"/>
              <a:gd name="connsiteX4" fmla="*/ 1050029 w 4933949"/>
              <a:gd name="connsiteY4" fmla="*/ 7196138 h 7196138"/>
              <a:gd name="connsiteX5" fmla="*/ 0 w 4933949"/>
              <a:gd name="connsiteY5" fmla="*/ 6645934 h 7196138"/>
              <a:gd name="connsiteX6" fmla="*/ 1050029 w 4933949"/>
              <a:gd name="connsiteY6" fmla="*/ 6094413 h 7196138"/>
              <a:gd name="connsiteX7" fmla="*/ 1050029 w 4933949"/>
              <a:gd name="connsiteY7" fmla="*/ 4730750 h 7196138"/>
              <a:gd name="connsiteX8" fmla="*/ 3883920 w 4933949"/>
              <a:gd name="connsiteY8" fmla="*/ 4730750 h 7196138"/>
              <a:gd name="connsiteX9" fmla="*/ 4933949 w 4933949"/>
              <a:gd name="connsiteY9" fmla="*/ 5283066 h 7196138"/>
              <a:gd name="connsiteX10" fmla="*/ 3883920 w 4933949"/>
              <a:gd name="connsiteY10" fmla="*/ 5834063 h 7196138"/>
              <a:gd name="connsiteX11" fmla="*/ 1050029 w 4933949"/>
              <a:gd name="connsiteY11" fmla="*/ 5834063 h 7196138"/>
              <a:gd name="connsiteX12" fmla="*/ 0 w 4933949"/>
              <a:gd name="connsiteY12" fmla="*/ 5283066 h 7196138"/>
              <a:gd name="connsiteX13" fmla="*/ 1050029 w 4933949"/>
              <a:gd name="connsiteY13" fmla="*/ 4730750 h 7196138"/>
              <a:gd name="connsiteX14" fmla="*/ 1050029 w 4933949"/>
              <a:gd name="connsiteY14" fmla="*/ 3368675 h 7196138"/>
              <a:gd name="connsiteX15" fmla="*/ 3883920 w 4933949"/>
              <a:gd name="connsiteY15" fmla="*/ 3368675 h 7196138"/>
              <a:gd name="connsiteX16" fmla="*/ 4933949 w 4933949"/>
              <a:gd name="connsiteY16" fmla="*/ 3920991 h 7196138"/>
              <a:gd name="connsiteX17" fmla="*/ 3883920 w 4933949"/>
              <a:gd name="connsiteY17" fmla="*/ 4471988 h 7196138"/>
              <a:gd name="connsiteX18" fmla="*/ 1050029 w 4933949"/>
              <a:gd name="connsiteY18" fmla="*/ 4471988 h 7196138"/>
              <a:gd name="connsiteX19" fmla="*/ 0 w 4933949"/>
              <a:gd name="connsiteY19" fmla="*/ 3920991 h 7196138"/>
              <a:gd name="connsiteX20" fmla="*/ 1050029 w 4933949"/>
              <a:gd name="connsiteY20" fmla="*/ 3368675 h 7196138"/>
              <a:gd name="connsiteX21" fmla="*/ 678543 w 4933949"/>
              <a:gd name="connsiteY21" fmla="*/ 305710 h 7196138"/>
              <a:gd name="connsiteX22" fmla="*/ 678543 w 4933949"/>
              <a:gd name="connsiteY22" fmla="*/ 2307316 h 7196138"/>
              <a:gd name="connsiteX23" fmla="*/ 909109 w 4933949"/>
              <a:gd name="connsiteY23" fmla="*/ 2307316 h 7196138"/>
              <a:gd name="connsiteX24" fmla="*/ 1119911 w 4933949"/>
              <a:gd name="connsiteY24" fmla="*/ 2234842 h 7196138"/>
              <a:gd name="connsiteX25" fmla="*/ 1198962 w 4933949"/>
              <a:gd name="connsiteY25" fmla="*/ 1615517 h 7196138"/>
              <a:gd name="connsiteX26" fmla="*/ 1198962 w 4933949"/>
              <a:gd name="connsiteY26" fmla="*/ 996191 h 7196138"/>
              <a:gd name="connsiteX27" fmla="*/ 1119911 w 4933949"/>
              <a:gd name="connsiteY27" fmla="*/ 378184 h 7196138"/>
              <a:gd name="connsiteX28" fmla="*/ 909109 w 4933949"/>
              <a:gd name="connsiteY28" fmla="*/ 305710 h 7196138"/>
              <a:gd name="connsiteX29" fmla="*/ 678543 w 4933949"/>
              <a:gd name="connsiteY29" fmla="*/ 305710 h 7196138"/>
              <a:gd name="connsiteX30" fmla="*/ 1842869 w 4933949"/>
              <a:gd name="connsiteY30" fmla="*/ 0 h 7196138"/>
              <a:gd name="connsiteX31" fmla="*/ 3073618 w 4933949"/>
              <a:gd name="connsiteY31" fmla="*/ 0 h 7196138"/>
              <a:gd name="connsiteX32" fmla="*/ 3114467 w 4933949"/>
              <a:gd name="connsiteY32" fmla="*/ 14495 h 7196138"/>
              <a:gd name="connsiteX33" fmla="*/ 3128962 w 4933949"/>
              <a:gd name="connsiteY33" fmla="*/ 54027 h 7196138"/>
              <a:gd name="connsiteX34" fmla="*/ 3128962 w 4933949"/>
              <a:gd name="connsiteY34" fmla="*/ 275402 h 7196138"/>
              <a:gd name="connsiteX35" fmla="*/ 3114467 w 4933949"/>
              <a:gd name="connsiteY35" fmla="*/ 314934 h 7196138"/>
              <a:gd name="connsiteX36" fmla="*/ 3073618 w 4933949"/>
              <a:gd name="connsiteY36" fmla="*/ 329429 h 7196138"/>
              <a:gd name="connsiteX37" fmla="*/ 2679620 w 4933949"/>
              <a:gd name="connsiteY37" fmla="*/ 329429 h 7196138"/>
              <a:gd name="connsiteX38" fmla="*/ 2679620 w 4933949"/>
              <a:gd name="connsiteY38" fmla="*/ 2558999 h 7196138"/>
              <a:gd name="connsiteX39" fmla="*/ 2665125 w 4933949"/>
              <a:gd name="connsiteY39" fmla="*/ 2598530 h 7196138"/>
              <a:gd name="connsiteX40" fmla="*/ 2625594 w 4933949"/>
              <a:gd name="connsiteY40" fmla="*/ 2613025 h 7196138"/>
              <a:gd name="connsiteX41" fmla="*/ 2290893 w 4933949"/>
              <a:gd name="connsiteY41" fmla="*/ 2613025 h 7196138"/>
              <a:gd name="connsiteX42" fmla="*/ 2250044 w 4933949"/>
              <a:gd name="connsiteY42" fmla="*/ 2598530 h 7196138"/>
              <a:gd name="connsiteX43" fmla="*/ 2235549 w 4933949"/>
              <a:gd name="connsiteY43" fmla="*/ 2558999 h 7196138"/>
              <a:gd name="connsiteX44" fmla="*/ 2235549 w 4933949"/>
              <a:gd name="connsiteY44" fmla="*/ 329429 h 7196138"/>
              <a:gd name="connsiteX45" fmla="*/ 1842869 w 4933949"/>
              <a:gd name="connsiteY45" fmla="*/ 329429 h 7196138"/>
              <a:gd name="connsiteX46" fmla="*/ 1802020 w 4933949"/>
              <a:gd name="connsiteY46" fmla="*/ 314934 h 7196138"/>
              <a:gd name="connsiteX47" fmla="*/ 1787525 w 4933949"/>
              <a:gd name="connsiteY47" fmla="*/ 275402 h 7196138"/>
              <a:gd name="connsiteX48" fmla="*/ 1787525 w 4933949"/>
              <a:gd name="connsiteY48" fmla="*/ 54027 h 7196138"/>
              <a:gd name="connsiteX49" fmla="*/ 1802020 w 4933949"/>
              <a:gd name="connsiteY49" fmla="*/ 14495 h 7196138"/>
              <a:gd name="connsiteX50" fmla="*/ 1842869 w 4933949"/>
              <a:gd name="connsiteY50" fmla="*/ 0 h 7196138"/>
              <a:gd name="connsiteX51" fmla="*/ 317544 w 4933949"/>
              <a:gd name="connsiteY51" fmla="*/ 0 h 7196138"/>
              <a:gd name="connsiteX52" fmla="*/ 972349 w 4933949"/>
              <a:gd name="connsiteY52" fmla="*/ 0 h 7196138"/>
              <a:gd name="connsiteX53" fmla="*/ 1476958 w 4933949"/>
              <a:gd name="connsiteY53" fmla="*/ 179209 h 7196138"/>
              <a:gd name="connsiteX54" fmla="*/ 1619250 w 4933949"/>
              <a:gd name="connsiteY54" fmla="*/ 1025181 h 7196138"/>
              <a:gd name="connsiteX55" fmla="*/ 1619250 w 4933949"/>
              <a:gd name="connsiteY55" fmla="*/ 1587845 h 7196138"/>
              <a:gd name="connsiteX56" fmla="*/ 1476958 w 4933949"/>
              <a:gd name="connsiteY56" fmla="*/ 2433816 h 7196138"/>
              <a:gd name="connsiteX57" fmla="*/ 972349 w 4933949"/>
              <a:gd name="connsiteY57" fmla="*/ 2613025 h 7196138"/>
              <a:gd name="connsiteX58" fmla="*/ 317544 w 4933949"/>
              <a:gd name="connsiteY58" fmla="*/ 2613025 h 7196138"/>
              <a:gd name="connsiteX59" fmla="*/ 278018 w 4933949"/>
              <a:gd name="connsiteY59" fmla="*/ 2598530 h 7196138"/>
              <a:gd name="connsiteX60" fmla="*/ 263525 w 4933949"/>
              <a:gd name="connsiteY60" fmla="*/ 2558999 h 7196138"/>
              <a:gd name="connsiteX61" fmla="*/ 263525 w 4933949"/>
              <a:gd name="connsiteY61" fmla="*/ 54027 h 7196138"/>
              <a:gd name="connsiteX62" fmla="*/ 278018 w 4933949"/>
              <a:gd name="connsiteY62" fmla="*/ 14495 h 7196138"/>
              <a:gd name="connsiteX63" fmla="*/ 317544 w 4933949"/>
              <a:gd name="connsiteY63" fmla="*/ 0 h 7196138"/>
              <a:gd name="connsiteX64" fmla="*/ 3359213 w 4933949"/>
              <a:gd name="connsiteY64" fmla="*/ 0 h 7196138"/>
              <a:gd name="connsiteX65" fmla="*/ 3664991 w 4933949"/>
              <a:gd name="connsiteY65" fmla="*/ 0 h 7196138"/>
              <a:gd name="connsiteX66" fmla="*/ 3705850 w 4933949"/>
              <a:gd name="connsiteY66" fmla="*/ 14497 h 7196138"/>
              <a:gd name="connsiteX67" fmla="*/ 3720348 w 4933949"/>
              <a:gd name="connsiteY67" fmla="*/ 54035 h 7196138"/>
              <a:gd name="connsiteX68" fmla="*/ 3720348 w 4933949"/>
              <a:gd name="connsiteY68" fmla="*/ 1903062 h 7196138"/>
              <a:gd name="connsiteX69" fmla="*/ 3798111 w 4933949"/>
              <a:gd name="connsiteY69" fmla="*/ 2279984 h 7196138"/>
              <a:gd name="connsiteX70" fmla="*/ 3976042 w 4933949"/>
              <a:gd name="connsiteY70" fmla="*/ 2349833 h 7196138"/>
              <a:gd name="connsiteX71" fmla="*/ 4163200 w 4933949"/>
              <a:gd name="connsiteY71" fmla="*/ 2279984 h 7196138"/>
              <a:gd name="connsiteX72" fmla="*/ 4240963 w 4933949"/>
              <a:gd name="connsiteY72" fmla="*/ 1903062 h 7196138"/>
              <a:gd name="connsiteX73" fmla="*/ 4240963 w 4933949"/>
              <a:gd name="connsiteY73" fmla="*/ 54035 h 7196138"/>
              <a:gd name="connsiteX74" fmla="*/ 4255461 w 4933949"/>
              <a:gd name="connsiteY74" fmla="*/ 14497 h 7196138"/>
              <a:gd name="connsiteX75" fmla="*/ 4295001 w 4933949"/>
              <a:gd name="connsiteY75" fmla="*/ 0 h 7196138"/>
              <a:gd name="connsiteX76" fmla="*/ 4602098 w 4933949"/>
              <a:gd name="connsiteY76" fmla="*/ 0 h 7196138"/>
              <a:gd name="connsiteX77" fmla="*/ 4641638 w 4933949"/>
              <a:gd name="connsiteY77" fmla="*/ 14497 h 7196138"/>
              <a:gd name="connsiteX78" fmla="*/ 4656136 w 4933949"/>
              <a:gd name="connsiteY78" fmla="*/ 54035 h 7196138"/>
              <a:gd name="connsiteX79" fmla="*/ 4656136 w 4933949"/>
              <a:gd name="connsiteY79" fmla="*/ 1904380 h 7196138"/>
              <a:gd name="connsiteX80" fmla="*/ 4507201 w 4933949"/>
              <a:gd name="connsiteY80" fmla="*/ 2459220 h 7196138"/>
              <a:gd name="connsiteX81" fmla="*/ 3981314 w 4933949"/>
              <a:gd name="connsiteY81" fmla="*/ 2646363 h 7196138"/>
              <a:gd name="connsiteX82" fmla="*/ 3447519 w 4933949"/>
              <a:gd name="connsiteY82" fmla="*/ 2459220 h 7196138"/>
              <a:gd name="connsiteX83" fmla="*/ 3305174 w 4933949"/>
              <a:gd name="connsiteY83" fmla="*/ 1904380 h 7196138"/>
              <a:gd name="connsiteX84" fmla="*/ 3305174 w 4933949"/>
              <a:gd name="connsiteY84" fmla="*/ 54035 h 7196138"/>
              <a:gd name="connsiteX85" fmla="*/ 3318354 w 4933949"/>
              <a:gd name="connsiteY85" fmla="*/ 14497 h 7196138"/>
              <a:gd name="connsiteX86" fmla="*/ 3359213 w 4933949"/>
              <a:gd name="connsiteY86" fmla="*/ 0 h 7196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</a:cxnLst>
            <a:rect l="l" t="t" r="r" b="b"/>
            <a:pathLst>
              <a:path w="4933949" h="7196138">
                <a:moveTo>
                  <a:pt x="1050029" y="6094413"/>
                </a:moveTo>
                <a:cubicBezTo>
                  <a:pt x="2409664" y="6623557"/>
                  <a:pt x="2524285" y="6623557"/>
                  <a:pt x="3883920" y="6094413"/>
                </a:cubicBezTo>
                <a:cubicBezTo>
                  <a:pt x="3883920" y="6094413"/>
                  <a:pt x="3883920" y="6094413"/>
                  <a:pt x="4933949" y="6645934"/>
                </a:cubicBezTo>
                <a:cubicBezTo>
                  <a:pt x="4933949" y="6645934"/>
                  <a:pt x="4933949" y="6645934"/>
                  <a:pt x="3883920" y="7196138"/>
                </a:cubicBezTo>
                <a:cubicBezTo>
                  <a:pt x="2524285" y="6668311"/>
                  <a:pt x="2409664" y="6668311"/>
                  <a:pt x="1050029" y="7196138"/>
                </a:cubicBezTo>
                <a:cubicBezTo>
                  <a:pt x="1050029" y="7196138"/>
                  <a:pt x="1050029" y="7196138"/>
                  <a:pt x="0" y="6645934"/>
                </a:cubicBezTo>
                <a:cubicBezTo>
                  <a:pt x="0" y="6645934"/>
                  <a:pt x="0" y="6645934"/>
                  <a:pt x="1050029" y="6094413"/>
                </a:cubicBezTo>
                <a:close/>
                <a:moveTo>
                  <a:pt x="1050029" y="4730750"/>
                </a:moveTo>
                <a:cubicBezTo>
                  <a:pt x="2409664" y="5260657"/>
                  <a:pt x="2524285" y="5260657"/>
                  <a:pt x="3883920" y="4730750"/>
                </a:cubicBezTo>
                <a:cubicBezTo>
                  <a:pt x="3883920" y="4730750"/>
                  <a:pt x="3883920" y="4730750"/>
                  <a:pt x="4933949" y="5283066"/>
                </a:cubicBezTo>
                <a:cubicBezTo>
                  <a:pt x="4933949" y="5283066"/>
                  <a:pt x="4933949" y="5283066"/>
                  <a:pt x="3883920" y="5834063"/>
                </a:cubicBezTo>
                <a:cubicBezTo>
                  <a:pt x="2524285" y="5305475"/>
                  <a:pt x="2409664" y="5305475"/>
                  <a:pt x="1050029" y="5834063"/>
                </a:cubicBezTo>
                <a:cubicBezTo>
                  <a:pt x="1050029" y="5834063"/>
                  <a:pt x="1050029" y="5834063"/>
                  <a:pt x="0" y="5283066"/>
                </a:cubicBezTo>
                <a:cubicBezTo>
                  <a:pt x="0" y="5283066"/>
                  <a:pt x="0" y="5283066"/>
                  <a:pt x="1050029" y="4730750"/>
                </a:cubicBezTo>
                <a:close/>
                <a:moveTo>
                  <a:pt x="1050029" y="3368675"/>
                </a:moveTo>
                <a:cubicBezTo>
                  <a:pt x="2409664" y="3898582"/>
                  <a:pt x="2524285" y="3898582"/>
                  <a:pt x="3883920" y="3368675"/>
                </a:cubicBezTo>
                <a:cubicBezTo>
                  <a:pt x="3883920" y="3368675"/>
                  <a:pt x="3883920" y="3368675"/>
                  <a:pt x="4933949" y="3920991"/>
                </a:cubicBezTo>
                <a:cubicBezTo>
                  <a:pt x="4933949" y="3920991"/>
                  <a:pt x="4933949" y="3920991"/>
                  <a:pt x="3883920" y="4471988"/>
                </a:cubicBezTo>
                <a:cubicBezTo>
                  <a:pt x="2524285" y="3943400"/>
                  <a:pt x="2409664" y="3943400"/>
                  <a:pt x="1050029" y="4471988"/>
                </a:cubicBezTo>
                <a:cubicBezTo>
                  <a:pt x="1050029" y="4471988"/>
                  <a:pt x="1050029" y="4471988"/>
                  <a:pt x="0" y="3920991"/>
                </a:cubicBezTo>
                <a:cubicBezTo>
                  <a:pt x="0" y="3920991"/>
                  <a:pt x="0" y="3920991"/>
                  <a:pt x="1050029" y="3368675"/>
                </a:cubicBezTo>
                <a:close/>
                <a:moveTo>
                  <a:pt x="678543" y="305710"/>
                </a:moveTo>
                <a:lnTo>
                  <a:pt x="678543" y="2307316"/>
                </a:lnTo>
                <a:cubicBezTo>
                  <a:pt x="678543" y="2307316"/>
                  <a:pt x="678543" y="2307316"/>
                  <a:pt x="909109" y="2307316"/>
                </a:cubicBezTo>
                <a:cubicBezTo>
                  <a:pt x="1011875" y="2307316"/>
                  <a:pt x="1072481" y="2291503"/>
                  <a:pt x="1119911" y="2234842"/>
                </a:cubicBezTo>
                <a:cubicBezTo>
                  <a:pt x="1192375" y="2147873"/>
                  <a:pt x="1198962" y="1971299"/>
                  <a:pt x="1198962" y="1615517"/>
                </a:cubicBezTo>
                <a:cubicBezTo>
                  <a:pt x="1198962" y="1615517"/>
                  <a:pt x="1198962" y="1615517"/>
                  <a:pt x="1198962" y="996191"/>
                </a:cubicBezTo>
                <a:cubicBezTo>
                  <a:pt x="1198962" y="641727"/>
                  <a:pt x="1192375" y="465153"/>
                  <a:pt x="1119911" y="378184"/>
                </a:cubicBezTo>
                <a:cubicBezTo>
                  <a:pt x="1072481" y="321522"/>
                  <a:pt x="1011875" y="305710"/>
                  <a:pt x="909109" y="305710"/>
                </a:cubicBezTo>
                <a:cubicBezTo>
                  <a:pt x="909109" y="305710"/>
                  <a:pt x="909109" y="305710"/>
                  <a:pt x="678543" y="305710"/>
                </a:cubicBezTo>
                <a:close/>
                <a:moveTo>
                  <a:pt x="1842869" y="0"/>
                </a:moveTo>
                <a:cubicBezTo>
                  <a:pt x="1842869" y="0"/>
                  <a:pt x="1842869" y="0"/>
                  <a:pt x="3073618" y="0"/>
                </a:cubicBezTo>
                <a:cubicBezTo>
                  <a:pt x="3093384" y="0"/>
                  <a:pt x="3105243" y="5271"/>
                  <a:pt x="3114467" y="14495"/>
                </a:cubicBezTo>
                <a:cubicBezTo>
                  <a:pt x="3122374" y="22401"/>
                  <a:pt x="3128962" y="34261"/>
                  <a:pt x="3128962" y="54027"/>
                </a:cubicBezTo>
                <a:cubicBezTo>
                  <a:pt x="3128962" y="54027"/>
                  <a:pt x="3128962" y="54027"/>
                  <a:pt x="3128962" y="275402"/>
                </a:cubicBezTo>
                <a:cubicBezTo>
                  <a:pt x="3128962" y="295168"/>
                  <a:pt x="3122374" y="307028"/>
                  <a:pt x="3114467" y="314934"/>
                </a:cubicBezTo>
                <a:cubicBezTo>
                  <a:pt x="3105243" y="324158"/>
                  <a:pt x="3093384" y="329429"/>
                  <a:pt x="3073618" y="329429"/>
                </a:cubicBezTo>
                <a:cubicBezTo>
                  <a:pt x="3073618" y="329429"/>
                  <a:pt x="3073618" y="329429"/>
                  <a:pt x="2679620" y="329429"/>
                </a:cubicBezTo>
                <a:cubicBezTo>
                  <a:pt x="2679620" y="329429"/>
                  <a:pt x="2679620" y="329429"/>
                  <a:pt x="2679620" y="2558999"/>
                </a:cubicBezTo>
                <a:cubicBezTo>
                  <a:pt x="2679620" y="2578765"/>
                  <a:pt x="2674349" y="2590624"/>
                  <a:pt x="2665125" y="2598530"/>
                </a:cubicBezTo>
                <a:cubicBezTo>
                  <a:pt x="2657219" y="2607755"/>
                  <a:pt x="2645360" y="2613025"/>
                  <a:pt x="2625594" y="2613025"/>
                </a:cubicBezTo>
                <a:cubicBezTo>
                  <a:pt x="2625594" y="2613025"/>
                  <a:pt x="2625594" y="2613025"/>
                  <a:pt x="2290893" y="2613025"/>
                </a:cubicBezTo>
                <a:cubicBezTo>
                  <a:pt x="2271128" y="2613025"/>
                  <a:pt x="2259268" y="2607755"/>
                  <a:pt x="2250044" y="2598530"/>
                </a:cubicBezTo>
                <a:cubicBezTo>
                  <a:pt x="2240820" y="2590624"/>
                  <a:pt x="2235549" y="2578765"/>
                  <a:pt x="2235549" y="2558999"/>
                </a:cubicBezTo>
                <a:cubicBezTo>
                  <a:pt x="2235549" y="2558999"/>
                  <a:pt x="2235549" y="2558999"/>
                  <a:pt x="2235549" y="329429"/>
                </a:cubicBezTo>
                <a:cubicBezTo>
                  <a:pt x="2235549" y="329429"/>
                  <a:pt x="2235549" y="329429"/>
                  <a:pt x="1842869" y="329429"/>
                </a:cubicBezTo>
                <a:cubicBezTo>
                  <a:pt x="1823104" y="329429"/>
                  <a:pt x="1811244" y="324158"/>
                  <a:pt x="1802020" y="314934"/>
                </a:cubicBezTo>
                <a:cubicBezTo>
                  <a:pt x="1792796" y="307028"/>
                  <a:pt x="1787525" y="295168"/>
                  <a:pt x="1787525" y="275402"/>
                </a:cubicBezTo>
                <a:cubicBezTo>
                  <a:pt x="1787525" y="275402"/>
                  <a:pt x="1787525" y="275402"/>
                  <a:pt x="1787525" y="54027"/>
                </a:cubicBezTo>
                <a:cubicBezTo>
                  <a:pt x="1787525" y="34261"/>
                  <a:pt x="1792796" y="22401"/>
                  <a:pt x="1802020" y="14495"/>
                </a:cubicBezTo>
                <a:cubicBezTo>
                  <a:pt x="1811244" y="5271"/>
                  <a:pt x="1823104" y="0"/>
                  <a:pt x="1842869" y="0"/>
                </a:cubicBezTo>
                <a:close/>
                <a:moveTo>
                  <a:pt x="317544" y="0"/>
                </a:moveTo>
                <a:cubicBezTo>
                  <a:pt x="317544" y="0"/>
                  <a:pt x="317544" y="0"/>
                  <a:pt x="972349" y="0"/>
                </a:cubicBezTo>
                <a:cubicBezTo>
                  <a:pt x="1226630" y="0"/>
                  <a:pt x="1382097" y="57980"/>
                  <a:pt x="1476958" y="179209"/>
                </a:cubicBezTo>
                <a:cubicBezTo>
                  <a:pt x="1615298" y="345241"/>
                  <a:pt x="1619250" y="614055"/>
                  <a:pt x="1619250" y="1025181"/>
                </a:cubicBezTo>
                <a:cubicBezTo>
                  <a:pt x="1619250" y="1025181"/>
                  <a:pt x="1619250" y="1025181"/>
                  <a:pt x="1619250" y="1587845"/>
                </a:cubicBezTo>
                <a:cubicBezTo>
                  <a:pt x="1619250" y="1998971"/>
                  <a:pt x="1615298" y="2267784"/>
                  <a:pt x="1476958" y="2433816"/>
                </a:cubicBezTo>
                <a:cubicBezTo>
                  <a:pt x="1382097" y="2555046"/>
                  <a:pt x="1226630" y="2613025"/>
                  <a:pt x="972349" y="2613025"/>
                </a:cubicBezTo>
                <a:cubicBezTo>
                  <a:pt x="972349" y="2613025"/>
                  <a:pt x="972349" y="2613025"/>
                  <a:pt x="317544" y="2613025"/>
                </a:cubicBezTo>
                <a:cubicBezTo>
                  <a:pt x="297781" y="2613025"/>
                  <a:pt x="285923" y="2607755"/>
                  <a:pt x="278018" y="2598530"/>
                </a:cubicBezTo>
                <a:cubicBezTo>
                  <a:pt x="268795" y="2590624"/>
                  <a:pt x="263525" y="2578765"/>
                  <a:pt x="263525" y="2558999"/>
                </a:cubicBezTo>
                <a:cubicBezTo>
                  <a:pt x="263525" y="2558999"/>
                  <a:pt x="263525" y="2558999"/>
                  <a:pt x="263525" y="54027"/>
                </a:cubicBezTo>
                <a:cubicBezTo>
                  <a:pt x="263525" y="34261"/>
                  <a:pt x="268795" y="22401"/>
                  <a:pt x="278018" y="14495"/>
                </a:cubicBezTo>
                <a:cubicBezTo>
                  <a:pt x="285923" y="5271"/>
                  <a:pt x="297781" y="0"/>
                  <a:pt x="317544" y="0"/>
                </a:cubicBezTo>
                <a:close/>
                <a:moveTo>
                  <a:pt x="3359213" y="0"/>
                </a:moveTo>
                <a:cubicBezTo>
                  <a:pt x="3359213" y="0"/>
                  <a:pt x="3359213" y="0"/>
                  <a:pt x="3664991" y="0"/>
                </a:cubicBezTo>
                <a:cubicBezTo>
                  <a:pt x="3684762" y="0"/>
                  <a:pt x="3696624" y="5272"/>
                  <a:pt x="3705850" y="14497"/>
                </a:cubicBezTo>
                <a:cubicBezTo>
                  <a:pt x="3715076" y="22405"/>
                  <a:pt x="3720348" y="34266"/>
                  <a:pt x="3720348" y="54035"/>
                </a:cubicBezTo>
                <a:cubicBezTo>
                  <a:pt x="3720348" y="54035"/>
                  <a:pt x="3720348" y="54035"/>
                  <a:pt x="3720348" y="1903062"/>
                </a:cubicBezTo>
                <a:cubicBezTo>
                  <a:pt x="3720348" y="2103384"/>
                  <a:pt x="3738800" y="2214089"/>
                  <a:pt x="3798111" y="2279984"/>
                </a:cubicBezTo>
                <a:cubicBezTo>
                  <a:pt x="3841605" y="2328747"/>
                  <a:pt x="3899597" y="2349833"/>
                  <a:pt x="3976042" y="2349833"/>
                </a:cubicBezTo>
                <a:cubicBezTo>
                  <a:pt x="4060395" y="2349833"/>
                  <a:pt x="4121023" y="2326111"/>
                  <a:pt x="4163200" y="2279984"/>
                </a:cubicBezTo>
                <a:cubicBezTo>
                  <a:pt x="4226464" y="2211453"/>
                  <a:pt x="4240963" y="2096795"/>
                  <a:pt x="4240963" y="1903062"/>
                </a:cubicBezTo>
                <a:cubicBezTo>
                  <a:pt x="4240963" y="1903062"/>
                  <a:pt x="4240963" y="1903062"/>
                  <a:pt x="4240963" y="54035"/>
                </a:cubicBezTo>
                <a:cubicBezTo>
                  <a:pt x="4240963" y="34266"/>
                  <a:pt x="4246235" y="22405"/>
                  <a:pt x="4255461" y="14497"/>
                </a:cubicBezTo>
                <a:cubicBezTo>
                  <a:pt x="4263369" y="5272"/>
                  <a:pt x="4276549" y="0"/>
                  <a:pt x="4295001" y="0"/>
                </a:cubicBezTo>
                <a:cubicBezTo>
                  <a:pt x="4295001" y="0"/>
                  <a:pt x="4295001" y="0"/>
                  <a:pt x="4602098" y="0"/>
                </a:cubicBezTo>
                <a:cubicBezTo>
                  <a:pt x="4621868" y="0"/>
                  <a:pt x="4633730" y="5272"/>
                  <a:pt x="4641638" y="14497"/>
                </a:cubicBezTo>
                <a:cubicBezTo>
                  <a:pt x="4650864" y="22405"/>
                  <a:pt x="4656136" y="34266"/>
                  <a:pt x="4656136" y="54035"/>
                </a:cubicBezTo>
                <a:cubicBezTo>
                  <a:pt x="4656136" y="54035"/>
                  <a:pt x="4656136" y="54035"/>
                  <a:pt x="4656136" y="1904380"/>
                </a:cubicBezTo>
                <a:cubicBezTo>
                  <a:pt x="4656136" y="2153465"/>
                  <a:pt x="4627140" y="2319521"/>
                  <a:pt x="4507201" y="2459220"/>
                </a:cubicBezTo>
                <a:cubicBezTo>
                  <a:pt x="4405714" y="2577832"/>
                  <a:pt x="4239645" y="2646363"/>
                  <a:pt x="3981314" y="2646363"/>
                </a:cubicBezTo>
                <a:cubicBezTo>
                  <a:pt x="3726938" y="2646363"/>
                  <a:pt x="3559550" y="2581786"/>
                  <a:pt x="3447519" y="2459220"/>
                </a:cubicBezTo>
                <a:cubicBezTo>
                  <a:pt x="3340760" y="2341926"/>
                  <a:pt x="3305174" y="2173233"/>
                  <a:pt x="3305174" y="1904380"/>
                </a:cubicBezTo>
                <a:cubicBezTo>
                  <a:pt x="3305174" y="1904380"/>
                  <a:pt x="3305174" y="1904380"/>
                  <a:pt x="3305174" y="54035"/>
                </a:cubicBezTo>
                <a:cubicBezTo>
                  <a:pt x="3305174" y="34266"/>
                  <a:pt x="3310446" y="22405"/>
                  <a:pt x="3318354" y="14497"/>
                </a:cubicBezTo>
                <a:cubicBezTo>
                  <a:pt x="3327580" y="5272"/>
                  <a:pt x="3339442" y="0"/>
                  <a:pt x="3359213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2178610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/Pause B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>
            <a:extLst>
              <a:ext uri="{FF2B5EF4-FFF2-40B4-BE49-F238E27FC236}">
                <a16:creationId xmlns:a16="http://schemas.microsoft.com/office/drawing/2014/main" id="{A3420087-96DF-432F-B192-585D42BF6A4E}"/>
              </a:ext>
            </a:extLst>
          </p:cNvPr>
          <p:cNvSpPr/>
          <p:nvPr userDrawn="1"/>
        </p:nvSpPr>
        <p:spPr bwMode="auto">
          <a:xfrm>
            <a:off x="0" y="0"/>
            <a:ext cx="12193200" cy="68616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ＭＳ Ｐゴシック" pitchFamily="-80" charset="-128"/>
            </a:endParaRPr>
          </a:p>
        </p:txBody>
      </p:sp>
      <p:sp>
        <p:nvSpPr>
          <p:cNvPr id="13" name="Logo color">
            <a:extLst>
              <a:ext uri="{FF2B5EF4-FFF2-40B4-BE49-F238E27FC236}">
                <a16:creationId xmlns:a16="http://schemas.microsoft.com/office/drawing/2014/main" id="{09BBEE10-6A59-474F-B766-7643F97F869F}"/>
              </a:ext>
            </a:extLst>
          </p:cNvPr>
          <p:cNvSpPr>
            <a:spLocks noChangeAspect="1"/>
          </p:cNvSpPr>
          <p:nvPr userDrawn="1">
            <p:custDataLst>
              <p:tags r:id="rId1"/>
            </p:custDataLst>
          </p:nvPr>
        </p:nvSpPr>
        <p:spPr bwMode="auto">
          <a:xfrm>
            <a:off x="4870539" y="1651373"/>
            <a:ext cx="2388323" cy="3483354"/>
          </a:xfrm>
          <a:custGeom>
            <a:avLst/>
            <a:gdLst>
              <a:gd name="connsiteX0" fmla="*/ 1050029 w 4933949"/>
              <a:gd name="connsiteY0" fmla="*/ 6094413 h 7196138"/>
              <a:gd name="connsiteX1" fmla="*/ 3883920 w 4933949"/>
              <a:gd name="connsiteY1" fmla="*/ 6094413 h 7196138"/>
              <a:gd name="connsiteX2" fmla="*/ 4933949 w 4933949"/>
              <a:gd name="connsiteY2" fmla="*/ 6645934 h 7196138"/>
              <a:gd name="connsiteX3" fmla="*/ 3883920 w 4933949"/>
              <a:gd name="connsiteY3" fmla="*/ 7196138 h 7196138"/>
              <a:gd name="connsiteX4" fmla="*/ 1050029 w 4933949"/>
              <a:gd name="connsiteY4" fmla="*/ 7196138 h 7196138"/>
              <a:gd name="connsiteX5" fmla="*/ 0 w 4933949"/>
              <a:gd name="connsiteY5" fmla="*/ 6645934 h 7196138"/>
              <a:gd name="connsiteX6" fmla="*/ 1050029 w 4933949"/>
              <a:gd name="connsiteY6" fmla="*/ 6094413 h 7196138"/>
              <a:gd name="connsiteX7" fmla="*/ 1050029 w 4933949"/>
              <a:gd name="connsiteY7" fmla="*/ 4730750 h 7196138"/>
              <a:gd name="connsiteX8" fmla="*/ 3883920 w 4933949"/>
              <a:gd name="connsiteY8" fmla="*/ 4730750 h 7196138"/>
              <a:gd name="connsiteX9" fmla="*/ 4933949 w 4933949"/>
              <a:gd name="connsiteY9" fmla="*/ 5283066 h 7196138"/>
              <a:gd name="connsiteX10" fmla="*/ 3883920 w 4933949"/>
              <a:gd name="connsiteY10" fmla="*/ 5834063 h 7196138"/>
              <a:gd name="connsiteX11" fmla="*/ 1050029 w 4933949"/>
              <a:gd name="connsiteY11" fmla="*/ 5834063 h 7196138"/>
              <a:gd name="connsiteX12" fmla="*/ 0 w 4933949"/>
              <a:gd name="connsiteY12" fmla="*/ 5283066 h 7196138"/>
              <a:gd name="connsiteX13" fmla="*/ 1050029 w 4933949"/>
              <a:gd name="connsiteY13" fmla="*/ 4730750 h 7196138"/>
              <a:gd name="connsiteX14" fmla="*/ 1050029 w 4933949"/>
              <a:gd name="connsiteY14" fmla="*/ 3368675 h 7196138"/>
              <a:gd name="connsiteX15" fmla="*/ 3883920 w 4933949"/>
              <a:gd name="connsiteY15" fmla="*/ 3368675 h 7196138"/>
              <a:gd name="connsiteX16" fmla="*/ 4933949 w 4933949"/>
              <a:gd name="connsiteY16" fmla="*/ 3920991 h 7196138"/>
              <a:gd name="connsiteX17" fmla="*/ 3883920 w 4933949"/>
              <a:gd name="connsiteY17" fmla="*/ 4471988 h 7196138"/>
              <a:gd name="connsiteX18" fmla="*/ 1050029 w 4933949"/>
              <a:gd name="connsiteY18" fmla="*/ 4471988 h 7196138"/>
              <a:gd name="connsiteX19" fmla="*/ 0 w 4933949"/>
              <a:gd name="connsiteY19" fmla="*/ 3920991 h 7196138"/>
              <a:gd name="connsiteX20" fmla="*/ 1050029 w 4933949"/>
              <a:gd name="connsiteY20" fmla="*/ 3368675 h 7196138"/>
              <a:gd name="connsiteX21" fmla="*/ 678543 w 4933949"/>
              <a:gd name="connsiteY21" fmla="*/ 305710 h 7196138"/>
              <a:gd name="connsiteX22" fmla="*/ 678543 w 4933949"/>
              <a:gd name="connsiteY22" fmla="*/ 2307316 h 7196138"/>
              <a:gd name="connsiteX23" fmla="*/ 909109 w 4933949"/>
              <a:gd name="connsiteY23" fmla="*/ 2307316 h 7196138"/>
              <a:gd name="connsiteX24" fmla="*/ 1119911 w 4933949"/>
              <a:gd name="connsiteY24" fmla="*/ 2234842 h 7196138"/>
              <a:gd name="connsiteX25" fmla="*/ 1198962 w 4933949"/>
              <a:gd name="connsiteY25" fmla="*/ 1615517 h 7196138"/>
              <a:gd name="connsiteX26" fmla="*/ 1198962 w 4933949"/>
              <a:gd name="connsiteY26" fmla="*/ 996191 h 7196138"/>
              <a:gd name="connsiteX27" fmla="*/ 1119911 w 4933949"/>
              <a:gd name="connsiteY27" fmla="*/ 378184 h 7196138"/>
              <a:gd name="connsiteX28" fmla="*/ 909109 w 4933949"/>
              <a:gd name="connsiteY28" fmla="*/ 305710 h 7196138"/>
              <a:gd name="connsiteX29" fmla="*/ 678543 w 4933949"/>
              <a:gd name="connsiteY29" fmla="*/ 305710 h 7196138"/>
              <a:gd name="connsiteX30" fmla="*/ 1842869 w 4933949"/>
              <a:gd name="connsiteY30" fmla="*/ 0 h 7196138"/>
              <a:gd name="connsiteX31" fmla="*/ 3073618 w 4933949"/>
              <a:gd name="connsiteY31" fmla="*/ 0 h 7196138"/>
              <a:gd name="connsiteX32" fmla="*/ 3114467 w 4933949"/>
              <a:gd name="connsiteY32" fmla="*/ 14495 h 7196138"/>
              <a:gd name="connsiteX33" fmla="*/ 3128962 w 4933949"/>
              <a:gd name="connsiteY33" fmla="*/ 54027 h 7196138"/>
              <a:gd name="connsiteX34" fmla="*/ 3128962 w 4933949"/>
              <a:gd name="connsiteY34" fmla="*/ 275402 h 7196138"/>
              <a:gd name="connsiteX35" fmla="*/ 3114467 w 4933949"/>
              <a:gd name="connsiteY35" fmla="*/ 314934 h 7196138"/>
              <a:gd name="connsiteX36" fmla="*/ 3073618 w 4933949"/>
              <a:gd name="connsiteY36" fmla="*/ 329429 h 7196138"/>
              <a:gd name="connsiteX37" fmla="*/ 2679620 w 4933949"/>
              <a:gd name="connsiteY37" fmla="*/ 329429 h 7196138"/>
              <a:gd name="connsiteX38" fmla="*/ 2679620 w 4933949"/>
              <a:gd name="connsiteY38" fmla="*/ 2558999 h 7196138"/>
              <a:gd name="connsiteX39" fmla="*/ 2665125 w 4933949"/>
              <a:gd name="connsiteY39" fmla="*/ 2598530 h 7196138"/>
              <a:gd name="connsiteX40" fmla="*/ 2625594 w 4933949"/>
              <a:gd name="connsiteY40" fmla="*/ 2613025 h 7196138"/>
              <a:gd name="connsiteX41" fmla="*/ 2290893 w 4933949"/>
              <a:gd name="connsiteY41" fmla="*/ 2613025 h 7196138"/>
              <a:gd name="connsiteX42" fmla="*/ 2250044 w 4933949"/>
              <a:gd name="connsiteY42" fmla="*/ 2598530 h 7196138"/>
              <a:gd name="connsiteX43" fmla="*/ 2235549 w 4933949"/>
              <a:gd name="connsiteY43" fmla="*/ 2558999 h 7196138"/>
              <a:gd name="connsiteX44" fmla="*/ 2235549 w 4933949"/>
              <a:gd name="connsiteY44" fmla="*/ 329429 h 7196138"/>
              <a:gd name="connsiteX45" fmla="*/ 1842869 w 4933949"/>
              <a:gd name="connsiteY45" fmla="*/ 329429 h 7196138"/>
              <a:gd name="connsiteX46" fmla="*/ 1802020 w 4933949"/>
              <a:gd name="connsiteY46" fmla="*/ 314934 h 7196138"/>
              <a:gd name="connsiteX47" fmla="*/ 1787525 w 4933949"/>
              <a:gd name="connsiteY47" fmla="*/ 275402 h 7196138"/>
              <a:gd name="connsiteX48" fmla="*/ 1787525 w 4933949"/>
              <a:gd name="connsiteY48" fmla="*/ 54027 h 7196138"/>
              <a:gd name="connsiteX49" fmla="*/ 1802020 w 4933949"/>
              <a:gd name="connsiteY49" fmla="*/ 14495 h 7196138"/>
              <a:gd name="connsiteX50" fmla="*/ 1842869 w 4933949"/>
              <a:gd name="connsiteY50" fmla="*/ 0 h 7196138"/>
              <a:gd name="connsiteX51" fmla="*/ 317544 w 4933949"/>
              <a:gd name="connsiteY51" fmla="*/ 0 h 7196138"/>
              <a:gd name="connsiteX52" fmla="*/ 972349 w 4933949"/>
              <a:gd name="connsiteY52" fmla="*/ 0 h 7196138"/>
              <a:gd name="connsiteX53" fmla="*/ 1476958 w 4933949"/>
              <a:gd name="connsiteY53" fmla="*/ 179209 h 7196138"/>
              <a:gd name="connsiteX54" fmla="*/ 1619250 w 4933949"/>
              <a:gd name="connsiteY54" fmla="*/ 1025181 h 7196138"/>
              <a:gd name="connsiteX55" fmla="*/ 1619250 w 4933949"/>
              <a:gd name="connsiteY55" fmla="*/ 1587845 h 7196138"/>
              <a:gd name="connsiteX56" fmla="*/ 1476958 w 4933949"/>
              <a:gd name="connsiteY56" fmla="*/ 2433816 h 7196138"/>
              <a:gd name="connsiteX57" fmla="*/ 972349 w 4933949"/>
              <a:gd name="connsiteY57" fmla="*/ 2613025 h 7196138"/>
              <a:gd name="connsiteX58" fmla="*/ 317544 w 4933949"/>
              <a:gd name="connsiteY58" fmla="*/ 2613025 h 7196138"/>
              <a:gd name="connsiteX59" fmla="*/ 278018 w 4933949"/>
              <a:gd name="connsiteY59" fmla="*/ 2598530 h 7196138"/>
              <a:gd name="connsiteX60" fmla="*/ 263525 w 4933949"/>
              <a:gd name="connsiteY60" fmla="*/ 2558999 h 7196138"/>
              <a:gd name="connsiteX61" fmla="*/ 263525 w 4933949"/>
              <a:gd name="connsiteY61" fmla="*/ 54027 h 7196138"/>
              <a:gd name="connsiteX62" fmla="*/ 278018 w 4933949"/>
              <a:gd name="connsiteY62" fmla="*/ 14495 h 7196138"/>
              <a:gd name="connsiteX63" fmla="*/ 317544 w 4933949"/>
              <a:gd name="connsiteY63" fmla="*/ 0 h 7196138"/>
              <a:gd name="connsiteX64" fmla="*/ 3359213 w 4933949"/>
              <a:gd name="connsiteY64" fmla="*/ 0 h 7196138"/>
              <a:gd name="connsiteX65" fmla="*/ 3664991 w 4933949"/>
              <a:gd name="connsiteY65" fmla="*/ 0 h 7196138"/>
              <a:gd name="connsiteX66" fmla="*/ 3705850 w 4933949"/>
              <a:gd name="connsiteY66" fmla="*/ 14497 h 7196138"/>
              <a:gd name="connsiteX67" fmla="*/ 3720348 w 4933949"/>
              <a:gd name="connsiteY67" fmla="*/ 54035 h 7196138"/>
              <a:gd name="connsiteX68" fmla="*/ 3720348 w 4933949"/>
              <a:gd name="connsiteY68" fmla="*/ 1903062 h 7196138"/>
              <a:gd name="connsiteX69" fmla="*/ 3798111 w 4933949"/>
              <a:gd name="connsiteY69" fmla="*/ 2279984 h 7196138"/>
              <a:gd name="connsiteX70" fmla="*/ 3976042 w 4933949"/>
              <a:gd name="connsiteY70" fmla="*/ 2349833 h 7196138"/>
              <a:gd name="connsiteX71" fmla="*/ 4163200 w 4933949"/>
              <a:gd name="connsiteY71" fmla="*/ 2279984 h 7196138"/>
              <a:gd name="connsiteX72" fmla="*/ 4240963 w 4933949"/>
              <a:gd name="connsiteY72" fmla="*/ 1903062 h 7196138"/>
              <a:gd name="connsiteX73" fmla="*/ 4240963 w 4933949"/>
              <a:gd name="connsiteY73" fmla="*/ 54035 h 7196138"/>
              <a:gd name="connsiteX74" fmla="*/ 4255461 w 4933949"/>
              <a:gd name="connsiteY74" fmla="*/ 14497 h 7196138"/>
              <a:gd name="connsiteX75" fmla="*/ 4295001 w 4933949"/>
              <a:gd name="connsiteY75" fmla="*/ 0 h 7196138"/>
              <a:gd name="connsiteX76" fmla="*/ 4602098 w 4933949"/>
              <a:gd name="connsiteY76" fmla="*/ 0 h 7196138"/>
              <a:gd name="connsiteX77" fmla="*/ 4641638 w 4933949"/>
              <a:gd name="connsiteY77" fmla="*/ 14497 h 7196138"/>
              <a:gd name="connsiteX78" fmla="*/ 4656136 w 4933949"/>
              <a:gd name="connsiteY78" fmla="*/ 54035 h 7196138"/>
              <a:gd name="connsiteX79" fmla="*/ 4656136 w 4933949"/>
              <a:gd name="connsiteY79" fmla="*/ 1904380 h 7196138"/>
              <a:gd name="connsiteX80" fmla="*/ 4507201 w 4933949"/>
              <a:gd name="connsiteY80" fmla="*/ 2459220 h 7196138"/>
              <a:gd name="connsiteX81" fmla="*/ 3981314 w 4933949"/>
              <a:gd name="connsiteY81" fmla="*/ 2646363 h 7196138"/>
              <a:gd name="connsiteX82" fmla="*/ 3447519 w 4933949"/>
              <a:gd name="connsiteY82" fmla="*/ 2459220 h 7196138"/>
              <a:gd name="connsiteX83" fmla="*/ 3305174 w 4933949"/>
              <a:gd name="connsiteY83" fmla="*/ 1904380 h 7196138"/>
              <a:gd name="connsiteX84" fmla="*/ 3305174 w 4933949"/>
              <a:gd name="connsiteY84" fmla="*/ 54035 h 7196138"/>
              <a:gd name="connsiteX85" fmla="*/ 3318354 w 4933949"/>
              <a:gd name="connsiteY85" fmla="*/ 14497 h 7196138"/>
              <a:gd name="connsiteX86" fmla="*/ 3359213 w 4933949"/>
              <a:gd name="connsiteY86" fmla="*/ 0 h 7196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</a:cxnLst>
            <a:rect l="l" t="t" r="r" b="b"/>
            <a:pathLst>
              <a:path w="4933949" h="7196138">
                <a:moveTo>
                  <a:pt x="1050029" y="6094413"/>
                </a:moveTo>
                <a:cubicBezTo>
                  <a:pt x="2409664" y="6623557"/>
                  <a:pt x="2524285" y="6623557"/>
                  <a:pt x="3883920" y="6094413"/>
                </a:cubicBezTo>
                <a:cubicBezTo>
                  <a:pt x="3883920" y="6094413"/>
                  <a:pt x="3883920" y="6094413"/>
                  <a:pt x="4933949" y="6645934"/>
                </a:cubicBezTo>
                <a:cubicBezTo>
                  <a:pt x="4933949" y="6645934"/>
                  <a:pt x="4933949" y="6645934"/>
                  <a:pt x="3883920" y="7196138"/>
                </a:cubicBezTo>
                <a:cubicBezTo>
                  <a:pt x="2524285" y="6668311"/>
                  <a:pt x="2409664" y="6668311"/>
                  <a:pt x="1050029" y="7196138"/>
                </a:cubicBezTo>
                <a:cubicBezTo>
                  <a:pt x="1050029" y="7196138"/>
                  <a:pt x="1050029" y="7196138"/>
                  <a:pt x="0" y="6645934"/>
                </a:cubicBezTo>
                <a:cubicBezTo>
                  <a:pt x="0" y="6645934"/>
                  <a:pt x="0" y="6645934"/>
                  <a:pt x="1050029" y="6094413"/>
                </a:cubicBezTo>
                <a:close/>
                <a:moveTo>
                  <a:pt x="1050029" y="4730750"/>
                </a:moveTo>
                <a:cubicBezTo>
                  <a:pt x="2409664" y="5260657"/>
                  <a:pt x="2524285" y="5260657"/>
                  <a:pt x="3883920" y="4730750"/>
                </a:cubicBezTo>
                <a:cubicBezTo>
                  <a:pt x="3883920" y="4730750"/>
                  <a:pt x="3883920" y="4730750"/>
                  <a:pt x="4933949" y="5283066"/>
                </a:cubicBezTo>
                <a:cubicBezTo>
                  <a:pt x="4933949" y="5283066"/>
                  <a:pt x="4933949" y="5283066"/>
                  <a:pt x="3883920" y="5834063"/>
                </a:cubicBezTo>
                <a:cubicBezTo>
                  <a:pt x="2524285" y="5305475"/>
                  <a:pt x="2409664" y="5305475"/>
                  <a:pt x="1050029" y="5834063"/>
                </a:cubicBezTo>
                <a:cubicBezTo>
                  <a:pt x="1050029" y="5834063"/>
                  <a:pt x="1050029" y="5834063"/>
                  <a:pt x="0" y="5283066"/>
                </a:cubicBezTo>
                <a:cubicBezTo>
                  <a:pt x="0" y="5283066"/>
                  <a:pt x="0" y="5283066"/>
                  <a:pt x="1050029" y="4730750"/>
                </a:cubicBezTo>
                <a:close/>
                <a:moveTo>
                  <a:pt x="1050029" y="3368675"/>
                </a:moveTo>
                <a:cubicBezTo>
                  <a:pt x="2409664" y="3898582"/>
                  <a:pt x="2524285" y="3898582"/>
                  <a:pt x="3883920" y="3368675"/>
                </a:cubicBezTo>
                <a:cubicBezTo>
                  <a:pt x="3883920" y="3368675"/>
                  <a:pt x="3883920" y="3368675"/>
                  <a:pt x="4933949" y="3920991"/>
                </a:cubicBezTo>
                <a:cubicBezTo>
                  <a:pt x="4933949" y="3920991"/>
                  <a:pt x="4933949" y="3920991"/>
                  <a:pt x="3883920" y="4471988"/>
                </a:cubicBezTo>
                <a:cubicBezTo>
                  <a:pt x="2524285" y="3943400"/>
                  <a:pt x="2409664" y="3943400"/>
                  <a:pt x="1050029" y="4471988"/>
                </a:cubicBezTo>
                <a:cubicBezTo>
                  <a:pt x="1050029" y="4471988"/>
                  <a:pt x="1050029" y="4471988"/>
                  <a:pt x="0" y="3920991"/>
                </a:cubicBezTo>
                <a:cubicBezTo>
                  <a:pt x="0" y="3920991"/>
                  <a:pt x="0" y="3920991"/>
                  <a:pt x="1050029" y="3368675"/>
                </a:cubicBezTo>
                <a:close/>
                <a:moveTo>
                  <a:pt x="678543" y="305710"/>
                </a:moveTo>
                <a:lnTo>
                  <a:pt x="678543" y="2307316"/>
                </a:lnTo>
                <a:cubicBezTo>
                  <a:pt x="678543" y="2307316"/>
                  <a:pt x="678543" y="2307316"/>
                  <a:pt x="909109" y="2307316"/>
                </a:cubicBezTo>
                <a:cubicBezTo>
                  <a:pt x="1011875" y="2307316"/>
                  <a:pt x="1072481" y="2291503"/>
                  <a:pt x="1119911" y="2234842"/>
                </a:cubicBezTo>
                <a:cubicBezTo>
                  <a:pt x="1192375" y="2147873"/>
                  <a:pt x="1198962" y="1971299"/>
                  <a:pt x="1198962" y="1615517"/>
                </a:cubicBezTo>
                <a:cubicBezTo>
                  <a:pt x="1198962" y="1615517"/>
                  <a:pt x="1198962" y="1615517"/>
                  <a:pt x="1198962" y="996191"/>
                </a:cubicBezTo>
                <a:cubicBezTo>
                  <a:pt x="1198962" y="641727"/>
                  <a:pt x="1192375" y="465153"/>
                  <a:pt x="1119911" y="378184"/>
                </a:cubicBezTo>
                <a:cubicBezTo>
                  <a:pt x="1072481" y="321522"/>
                  <a:pt x="1011875" y="305710"/>
                  <a:pt x="909109" y="305710"/>
                </a:cubicBezTo>
                <a:cubicBezTo>
                  <a:pt x="909109" y="305710"/>
                  <a:pt x="909109" y="305710"/>
                  <a:pt x="678543" y="305710"/>
                </a:cubicBezTo>
                <a:close/>
                <a:moveTo>
                  <a:pt x="1842869" y="0"/>
                </a:moveTo>
                <a:cubicBezTo>
                  <a:pt x="1842869" y="0"/>
                  <a:pt x="1842869" y="0"/>
                  <a:pt x="3073618" y="0"/>
                </a:cubicBezTo>
                <a:cubicBezTo>
                  <a:pt x="3093384" y="0"/>
                  <a:pt x="3105243" y="5271"/>
                  <a:pt x="3114467" y="14495"/>
                </a:cubicBezTo>
                <a:cubicBezTo>
                  <a:pt x="3122374" y="22401"/>
                  <a:pt x="3128962" y="34261"/>
                  <a:pt x="3128962" y="54027"/>
                </a:cubicBezTo>
                <a:cubicBezTo>
                  <a:pt x="3128962" y="54027"/>
                  <a:pt x="3128962" y="54027"/>
                  <a:pt x="3128962" y="275402"/>
                </a:cubicBezTo>
                <a:cubicBezTo>
                  <a:pt x="3128962" y="295168"/>
                  <a:pt x="3122374" y="307028"/>
                  <a:pt x="3114467" y="314934"/>
                </a:cubicBezTo>
                <a:cubicBezTo>
                  <a:pt x="3105243" y="324158"/>
                  <a:pt x="3093384" y="329429"/>
                  <a:pt x="3073618" y="329429"/>
                </a:cubicBezTo>
                <a:cubicBezTo>
                  <a:pt x="3073618" y="329429"/>
                  <a:pt x="3073618" y="329429"/>
                  <a:pt x="2679620" y="329429"/>
                </a:cubicBezTo>
                <a:cubicBezTo>
                  <a:pt x="2679620" y="329429"/>
                  <a:pt x="2679620" y="329429"/>
                  <a:pt x="2679620" y="2558999"/>
                </a:cubicBezTo>
                <a:cubicBezTo>
                  <a:pt x="2679620" y="2578765"/>
                  <a:pt x="2674349" y="2590624"/>
                  <a:pt x="2665125" y="2598530"/>
                </a:cubicBezTo>
                <a:cubicBezTo>
                  <a:pt x="2657219" y="2607755"/>
                  <a:pt x="2645360" y="2613025"/>
                  <a:pt x="2625594" y="2613025"/>
                </a:cubicBezTo>
                <a:cubicBezTo>
                  <a:pt x="2625594" y="2613025"/>
                  <a:pt x="2625594" y="2613025"/>
                  <a:pt x="2290893" y="2613025"/>
                </a:cubicBezTo>
                <a:cubicBezTo>
                  <a:pt x="2271128" y="2613025"/>
                  <a:pt x="2259268" y="2607755"/>
                  <a:pt x="2250044" y="2598530"/>
                </a:cubicBezTo>
                <a:cubicBezTo>
                  <a:pt x="2240820" y="2590624"/>
                  <a:pt x="2235549" y="2578765"/>
                  <a:pt x="2235549" y="2558999"/>
                </a:cubicBezTo>
                <a:cubicBezTo>
                  <a:pt x="2235549" y="2558999"/>
                  <a:pt x="2235549" y="2558999"/>
                  <a:pt x="2235549" y="329429"/>
                </a:cubicBezTo>
                <a:cubicBezTo>
                  <a:pt x="2235549" y="329429"/>
                  <a:pt x="2235549" y="329429"/>
                  <a:pt x="1842869" y="329429"/>
                </a:cubicBezTo>
                <a:cubicBezTo>
                  <a:pt x="1823104" y="329429"/>
                  <a:pt x="1811244" y="324158"/>
                  <a:pt x="1802020" y="314934"/>
                </a:cubicBezTo>
                <a:cubicBezTo>
                  <a:pt x="1792796" y="307028"/>
                  <a:pt x="1787525" y="295168"/>
                  <a:pt x="1787525" y="275402"/>
                </a:cubicBezTo>
                <a:cubicBezTo>
                  <a:pt x="1787525" y="275402"/>
                  <a:pt x="1787525" y="275402"/>
                  <a:pt x="1787525" y="54027"/>
                </a:cubicBezTo>
                <a:cubicBezTo>
                  <a:pt x="1787525" y="34261"/>
                  <a:pt x="1792796" y="22401"/>
                  <a:pt x="1802020" y="14495"/>
                </a:cubicBezTo>
                <a:cubicBezTo>
                  <a:pt x="1811244" y="5271"/>
                  <a:pt x="1823104" y="0"/>
                  <a:pt x="1842869" y="0"/>
                </a:cubicBezTo>
                <a:close/>
                <a:moveTo>
                  <a:pt x="317544" y="0"/>
                </a:moveTo>
                <a:cubicBezTo>
                  <a:pt x="317544" y="0"/>
                  <a:pt x="317544" y="0"/>
                  <a:pt x="972349" y="0"/>
                </a:cubicBezTo>
                <a:cubicBezTo>
                  <a:pt x="1226630" y="0"/>
                  <a:pt x="1382097" y="57980"/>
                  <a:pt x="1476958" y="179209"/>
                </a:cubicBezTo>
                <a:cubicBezTo>
                  <a:pt x="1615298" y="345241"/>
                  <a:pt x="1619250" y="614055"/>
                  <a:pt x="1619250" y="1025181"/>
                </a:cubicBezTo>
                <a:cubicBezTo>
                  <a:pt x="1619250" y="1025181"/>
                  <a:pt x="1619250" y="1025181"/>
                  <a:pt x="1619250" y="1587845"/>
                </a:cubicBezTo>
                <a:cubicBezTo>
                  <a:pt x="1619250" y="1998971"/>
                  <a:pt x="1615298" y="2267784"/>
                  <a:pt x="1476958" y="2433816"/>
                </a:cubicBezTo>
                <a:cubicBezTo>
                  <a:pt x="1382097" y="2555046"/>
                  <a:pt x="1226630" y="2613025"/>
                  <a:pt x="972349" y="2613025"/>
                </a:cubicBezTo>
                <a:cubicBezTo>
                  <a:pt x="972349" y="2613025"/>
                  <a:pt x="972349" y="2613025"/>
                  <a:pt x="317544" y="2613025"/>
                </a:cubicBezTo>
                <a:cubicBezTo>
                  <a:pt x="297781" y="2613025"/>
                  <a:pt x="285923" y="2607755"/>
                  <a:pt x="278018" y="2598530"/>
                </a:cubicBezTo>
                <a:cubicBezTo>
                  <a:pt x="268795" y="2590624"/>
                  <a:pt x="263525" y="2578765"/>
                  <a:pt x="263525" y="2558999"/>
                </a:cubicBezTo>
                <a:cubicBezTo>
                  <a:pt x="263525" y="2558999"/>
                  <a:pt x="263525" y="2558999"/>
                  <a:pt x="263525" y="54027"/>
                </a:cubicBezTo>
                <a:cubicBezTo>
                  <a:pt x="263525" y="34261"/>
                  <a:pt x="268795" y="22401"/>
                  <a:pt x="278018" y="14495"/>
                </a:cubicBezTo>
                <a:cubicBezTo>
                  <a:pt x="285923" y="5271"/>
                  <a:pt x="297781" y="0"/>
                  <a:pt x="317544" y="0"/>
                </a:cubicBezTo>
                <a:close/>
                <a:moveTo>
                  <a:pt x="3359213" y="0"/>
                </a:moveTo>
                <a:cubicBezTo>
                  <a:pt x="3359213" y="0"/>
                  <a:pt x="3359213" y="0"/>
                  <a:pt x="3664991" y="0"/>
                </a:cubicBezTo>
                <a:cubicBezTo>
                  <a:pt x="3684762" y="0"/>
                  <a:pt x="3696624" y="5272"/>
                  <a:pt x="3705850" y="14497"/>
                </a:cubicBezTo>
                <a:cubicBezTo>
                  <a:pt x="3715076" y="22405"/>
                  <a:pt x="3720348" y="34266"/>
                  <a:pt x="3720348" y="54035"/>
                </a:cubicBezTo>
                <a:cubicBezTo>
                  <a:pt x="3720348" y="54035"/>
                  <a:pt x="3720348" y="54035"/>
                  <a:pt x="3720348" y="1903062"/>
                </a:cubicBezTo>
                <a:cubicBezTo>
                  <a:pt x="3720348" y="2103384"/>
                  <a:pt x="3738800" y="2214089"/>
                  <a:pt x="3798111" y="2279984"/>
                </a:cubicBezTo>
                <a:cubicBezTo>
                  <a:pt x="3841605" y="2328747"/>
                  <a:pt x="3899597" y="2349833"/>
                  <a:pt x="3976042" y="2349833"/>
                </a:cubicBezTo>
                <a:cubicBezTo>
                  <a:pt x="4060395" y="2349833"/>
                  <a:pt x="4121023" y="2326111"/>
                  <a:pt x="4163200" y="2279984"/>
                </a:cubicBezTo>
                <a:cubicBezTo>
                  <a:pt x="4226464" y="2211453"/>
                  <a:pt x="4240963" y="2096795"/>
                  <a:pt x="4240963" y="1903062"/>
                </a:cubicBezTo>
                <a:cubicBezTo>
                  <a:pt x="4240963" y="1903062"/>
                  <a:pt x="4240963" y="1903062"/>
                  <a:pt x="4240963" y="54035"/>
                </a:cubicBezTo>
                <a:cubicBezTo>
                  <a:pt x="4240963" y="34266"/>
                  <a:pt x="4246235" y="22405"/>
                  <a:pt x="4255461" y="14497"/>
                </a:cubicBezTo>
                <a:cubicBezTo>
                  <a:pt x="4263369" y="5272"/>
                  <a:pt x="4276549" y="0"/>
                  <a:pt x="4295001" y="0"/>
                </a:cubicBezTo>
                <a:cubicBezTo>
                  <a:pt x="4295001" y="0"/>
                  <a:pt x="4295001" y="0"/>
                  <a:pt x="4602098" y="0"/>
                </a:cubicBezTo>
                <a:cubicBezTo>
                  <a:pt x="4621868" y="0"/>
                  <a:pt x="4633730" y="5272"/>
                  <a:pt x="4641638" y="14497"/>
                </a:cubicBezTo>
                <a:cubicBezTo>
                  <a:pt x="4650864" y="22405"/>
                  <a:pt x="4656136" y="34266"/>
                  <a:pt x="4656136" y="54035"/>
                </a:cubicBezTo>
                <a:cubicBezTo>
                  <a:pt x="4656136" y="54035"/>
                  <a:pt x="4656136" y="54035"/>
                  <a:pt x="4656136" y="1904380"/>
                </a:cubicBezTo>
                <a:cubicBezTo>
                  <a:pt x="4656136" y="2153465"/>
                  <a:pt x="4627140" y="2319521"/>
                  <a:pt x="4507201" y="2459220"/>
                </a:cubicBezTo>
                <a:cubicBezTo>
                  <a:pt x="4405714" y="2577832"/>
                  <a:pt x="4239645" y="2646363"/>
                  <a:pt x="3981314" y="2646363"/>
                </a:cubicBezTo>
                <a:cubicBezTo>
                  <a:pt x="3726938" y="2646363"/>
                  <a:pt x="3559550" y="2581786"/>
                  <a:pt x="3447519" y="2459220"/>
                </a:cubicBezTo>
                <a:cubicBezTo>
                  <a:pt x="3340760" y="2341926"/>
                  <a:pt x="3305174" y="2173233"/>
                  <a:pt x="3305174" y="1904380"/>
                </a:cubicBezTo>
                <a:cubicBezTo>
                  <a:pt x="3305174" y="1904380"/>
                  <a:pt x="3305174" y="1904380"/>
                  <a:pt x="3305174" y="54035"/>
                </a:cubicBezTo>
                <a:cubicBezTo>
                  <a:pt x="3305174" y="34266"/>
                  <a:pt x="3310446" y="22405"/>
                  <a:pt x="3318354" y="14497"/>
                </a:cubicBezTo>
                <a:cubicBezTo>
                  <a:pt x="3327580" y="5272"/>
                  <a:pt x="3339442" y="0"/>
                  <a:pt x="3359213" y="0"/>
                </a:cubicBezTo>
                <a:close/>
              </a:path>
            </a:pathLst>
          </a:custGeom>
          <a:solidFill>
            <a:srgbClr val="99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sp>
        <p:nvSpPr>
          <p:cNvPr id="6" name="Date Placeholder 2">
            <a:extLst>
              <a:ext uri="{FF2B5EF4-FFF2-40B4-BE49-F238E27FC236}">
                <a16:creationId xmlns:a16="http://schemas.microsoft.com/office/drawing/2014/main" id="{AF062B26-8169-4B93-8FD8-CFDB0855A96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GB" dirty="0"/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CA59923C-6F09-424E-AF1E-AC62326A9B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GB" dirty="0"/>
          </a:p>
        </p:txBody>
      </p:sp>
      <p:sp>
        <p:nvSpPr>
          <p:cNvPr id="9" name="Slide Number Placeholder 4">
            <a:extLst>
              <a:ext uri="{FF2B5EF4-FFF2-40B4-BE49-F238E27FC236}">
                <a16:creationId xmlns:a16="http://schemas.microsoft.com/office/drawing/2014/main" id="{4C299FA2-BF46-4410-B2CD-E3C80B7A98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 flipV="1"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Bottom bar">
            <a:extLst>
              <a:ext uri="{FF2B5EF4-FFF2-40B4-BE49-F238E27FC236}">
                <a16:creationId xmlns:a16="http://schemas.microsoft.com/office/drawing/2014/main" id="{495865CE-5BE9-4122-8AB8-48E534DD88F7}"/>
              </a:ext>
            </a:extLst>
          </p:cNvPr>
          <p:cNvSpPr/>
          <p:nvPr userDrawn="1"/>
        </p:nvSpPr>
        <p:spPr bwMode="auto">
          <a:xfrm>
            <a:off x="0" y="6541200"/>
            <a:ext cx="12193200" cy="316800"/>
          </a:xfrm>
          <a:prstGeom prst="rect">
            <a:avLst/>
          </a:prstGeom>
          <a:solidFill>
            <a:srgbClr val="990000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432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600" b="0" i="0" u="none" strike="noStrike" cap="none" normalizeH="0" baseline="0" dirty="0" err="1">
              <a:ln>
                <a:noFill/>
              </a:ln>
              <a:solidFill>
                <a:srgbClr val="FFFFFF"/>
              </a:solidFill>
              <a:effectLst/>
              <a:latin typeface="+mn-lt"/>
              <a:ea typeface="ＭＳ Ｐゴシック" pitchFamily="-80" charset="-128"/>
            </a:endParaRPr>
          </a:p>
        </p:txBody>
      </p:sp>
      <p:sp>
        <p:nvSpPr>
          <p:cNvPr id="12" name="Top bar">
            <a:extLst>
              <a:ext uri="{FF2B5EF4-FFF2-40B4-BE49-F238E27FC236}">
                <a16:creationId xmlns:a16="http://schemas.microsoft.com/office/drawing/2014/main" id="{0D436479-94F3-475C-8F8D-D3CDC81793FD}"/>
              </a:ext>
            </a:extLst>
          </p:cNvPr>
          <p:cNvSpPr/>
          <p:nvPr userDrawn="1"/>
        </p:nvSpPr>
        <p:spPr bwMode="auto">
          <a:xfrm>
            <a:off x="0" y="0"/>
            <a:ext cx="12193200" cy="50400"/>
          </a:xfrm>
          <a:prstGeom prst="rect">
            <a:avLst/>
          </a:prstGeom>
          <a:solidFill>
            <a:srgbClr val="990000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432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600" b="0" i="0" u="none" strike="noStrike" cap="none" normalizeH="0" baseline="0" dirty="0" err="1">
              <a:ln>
                <a:noFill/>
              </a:ln>
              <a:solidFill>
                <a:srgbClr val="FFFFFF"/>
              </a:solidFill>
              <a:effectLst/>
              <a:latin typeface="+mn-lt"/>
              <a:ea typeface="ＭＳ Ｐゴシック" pitchFamily="-8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4963761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: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ntent Placeholder 8"/>
          <p:cNvSpPr>
            <a:spLocks noGrp="1"/>
          </p:cNvSpPr>
          <p:nvPr>
            <p:ph sz="quarter" idx="21"/>
          </p:nvPr>
        </p:nvSpPr>
        <p:spPr bwMode="gray">
          <a:xfrm>
            <a:off x="329151" y="1931200"/>
            <a:ext cx="11521299" cy="398224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8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9"/>
          </p:nvPr>
        </p:nvSpPr>
        <p:spPr bwMode="gray"/>
        <p:txBody>
          <a:bodyPr/>
          <a:lstStyle/>
          <a:p>
            <a:pPr lvl="8"/>
            <a:endParaRPr lang="en-US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0"/>
          </p:nvPr>
        </p:nvSpPr>
        <p:spPr bwMode="gray"/>
        <p:txBody>
          <a:bodyPr/>
          <a:lstStyle/>
          <a:p>
            <a:r>
              <a:rPr lang="en-US" dirty="0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0048" y="1085213"/>
            <a:ext cx="11521299" cy="504000"/>
          </a:xfrm>
        </p:spPr>
        <p:txBody>
          <a:bodyPr lIns="0" tIns="0" rIns="0" bIns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0075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B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69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49859" y="3545117"/>
            <a:ext cx="10840028" cy="2706458"/>
          </a:xfrm>
        </p:spPr>
        <p:txBody>
          <a:bodyPr anchor="t" anchorCtr="0"/>
          <a:lstStyle>
            <a:lvl1pPr>
              <a:lnSpc>
                <a:spcPct val="93000"/>
              </a:lnSpc>
              <a:defRPr sz="8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11469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47072" y="1704975"/>
            <a:ext cx="10840028" cy="1660654"/>
          </a:xfrm>
        </p:spPr>
        <p:txBody>
          <a:bodyPr anchor="b" anchorCtr="0"/>
          <a:lstStyle>
            <a:lvl1pPr marL="0" indent="0">
              <a:lnSpc>
                <a:spcPct val="110000"/>
              </a:lnSpc>
              <a:spcBef>
                <a:spcPts val="0"/>
              </a:spcBef>
              <a:buFontTx/>
              <a:buNone/>
              <a:defRPr sz="3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GB" noProof="0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1346B4F-F02C-40EC-9B70-932B18214C6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E67EB69-BB5A-407E-BF0A-1CB9B24506D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03EA872-A674-449B-A120-B97244F8E91D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259193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56" userDrawn="1">
          <p15:clr>
            <a:srgbClr val="F26B43"/>
          </p15:clr>
        </p15:guide>
        <p15:guide id="2" pos="6984" userDrawn="1">
          <p15:clr>
            <a:srgbClr val="F26B43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248A0E3C-0CE1-4BBF-A912-5A81BF3B7B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FCA8860-CDAD-4F91-9292-2B11655C191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8C7A21B-9B48-4777-BF0D-9FB95719C2E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03EA872-A674-449B-A120-B97244F8E91D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877740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984" userDrawn="1">
          <p15:clr>
            <a:srgbClr val="F26B43"/>
          </p15:clr>
        </p15:guide>
        <p15:guide id="2" pos="1117" userDrawn="1">
          <p15:clr>
            <a:srgbClr val="F26B43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5EB1D5E1-0C4E-4A74-BE37-26307F7E28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74726" y="426127"/>
            <a:ext cx="9312374" cy="97271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774800" y="1706399"/>
            <a:ext cx="4410177" cy="45468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678001" y="1706399"/>
            <a:ext cx="4409100" cy="45468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2499420-B0E8-4C8A-8C00-E21262271AD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E3EE7F0E-E606-41AC-BBBF-B5AECB1112E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03EA872-A674-449B-A120-B97244F8E91D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312135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118">
          <p15:clr>
            <a:srgbClr val="F26B43"/>
          </p15:clr>
        </p15:guide>
        <p15:guide id="2" pos="3896">
          <p15:clr>
            <a:srgbClr val="F26B43"/>
          </p15:clr>
        </p15:guide>
        <p15:guide id="3" pos="4205">
          <p15:clr>
            <a:srgbClr val="F26B43"/>
          </p15:clr>
        </p15:guide>
        <p15:guide id="4" pos="6984">
          <p15:clr>
            <a:srgbClr val="F26B43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two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5">
            <a:extLst>
              <a:ext uri="{FF2B5EF4-FFF2-40B4-BE49-F238E27FC236}">
                <a16:creationId xmlns:a16="http://schemas.microsoft.com/office/drawing/2014/main" id="{90A2595F-A737-4D92-946C-EC0BBF8853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74726" y="426127"/>
            <a:ext cx="6048672" cy="97271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74726" y="1706328"/>
            <a:ext cx="6048672" cy="454557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565D29D0-EA4F-4318-8A82-6C2B200A712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331213" y="849734"/>
            <a:ext cx="3859200" cy="2505600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lang="en-GB" dirty="0"/>
              <a:t>Click the placeholder and paste image via Skyfish icon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25B8511D-E10E-40C3-82A6-3DCDC97CF6C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331213" y="3563718"/>
            <a:ext cx="3859200" cy="2505600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lang="en-GB" dirty="0"/>
              <a:t>Click the placeholder and paste image via Skyfish icon</a:t>
            </a:r>
          </a:p>
          <a:p>
            <a:endParaRPr lang="en-GB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2986237-C7E2-4498-82A4-361A340A650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1664EEF-2B63-484E-803A-4FCD66F243A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03EA872-A674-449B-A120-B97244F8E91D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22670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927" userDrawn="1">
          <p15:clr>
            <a:srgbClr val="F26B43"/>
          </p15:clr>
        </p15:guide>
        <p15:guide id="2" pos="5247" userDrawn="1">
          <p15:clr>
            <a:srgbClr val="F26B43"/>
          </p15:clr>
        </p15:guide>
        <p15:guide id="3" pos="1117" userDrawn="1">
          <p15:clr>
            <a:srgbClr val="F26B43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7">
            <a:extLst>
              <a:ext uri="{FF2B5EF4-FFF2-40B4-BE49-F238E27FC236}">
                <a16:creationId xmlns:a16="http://schemas.microsoft.com/office/drawing/2014/main" id="{92213382-11A1-48CE-B0A0-D8A7D26861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21360" y="426127"/>
            <a:ext cx="6865740" cy="97271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21360" y="1706328"/>
            <a:ext cx="6865740" cy="454557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565D29D0-EA4F-4318-8A82-6C2B200A712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-1" y="1314523"/>
            <a:ext cx="3708000" cy="2455200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lang="en-GB" dirty="0"/>
              <a:t>Click the placeholder and paste image via Skyfish icon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25B8511D-E10E-40C3-82A6-3DCDC97CF6C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-1" y="3968153"/>
            <a:ext cx="3708000" cy="2455200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lang="en-GB" dirty="0"/>
              <a:t>Click the placeholder and paste image via Skyfish icon</a:t>
            </a:r>
          </a:p>
          <a:p>
            <a:endParaRPr lang="en-GB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E26B732-1A52-4AA9-89FC-8FC5439E40D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B25D0DC-E43F-43DA-AA0F-C0C54C8939F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03EA872-A674-449B-A120-B97244F8E91D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835623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984" userDrawn="1">
          <p15:clr>
            <a:srgbClr val="F26B43"/>
          </p15:clr>
        </p15:guide>
        <p15:guide id="2" pos="2660" userDrawn="1">
          <p15:clr>
            <a:srgbClr val="F26B43"/>
          </p15:clr>
        </p15:guide>
        <p15:guide id="3" pos="2335" userDrawn="1">
          <p15:clr>
            <a:srgbClr val="F26B43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8953C3-F3F7-4638-96F8-7CF20CB55E0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7650" y="980727"/>
            <a:ext cx="3740400" cy="418115"/>
          </a:xfrm>
        </p:spPr>
        <p:txBody>
          <a:bodyPr/>
          <a:lstStyle>
            <a:lvl1pPr>
              <a:defRPr sz="2400"/>
            </a:lvl1pPr>
          </a:lstStyle>
          <a:p>
            <a:r>
              <a:rPr lang="en-GB" dirty="0"/>
              <a:t>Click to add title one lin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CC0DB591-4602-46B3-B1C3-1E64148AB9B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47650" y="4407150"/>
            <a:ext cx="3740400" cy="1844425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68416079-1CFC-426F-A6ED-5AB355FC545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22750" y="979200"/>
            <a:ext cx="3740400" cy="417767"/>
          </a:xfrm>
        </p:spPr>
        <p:txBody>
          <a:bodyPr anchor="b" anchorCtr="0"/>
          <a:lstStyle>
            <a:lvl1pPr marL="0" indent="0">
              <a:buNone/>
              <a:defRPr sz="2400" b="1"/>
            </a:lvl1pPr>
            <a:lvl2pPr marL="0" indent="0">
              <a:buNone/>
              <a:defRPr sz="2400" b="1"/>
            </a:lvl2pPr>
            <a:lvl3pPr marL="0" indent="0">
              <a:buNone/>
              <a:defRPr sz="2400" b="1"/>
            </a:lvl3pPr>
            <a:lvl4pPr marL="0" indent="0">
              <a:buNone/>
              <a:defRPr sz="2400" b="1"/>
            </a:lvl4pPr>
            <a:lvl5pPr marL="0" indent="0">
              <a:buNone/>
              <a:defRPr sz="2400" b="1"/>
            </a:lvl5pPr>
          </a:lstStyle>
          <a:p>
            <a:pPr lvl="0"/>
            <a:r>
              <a:rPr lang="en-GB" dirty="0"/>
              <a:t>Click to add title one line</a:t>
            </a:r>
          </a:p>
        </p:txBody>
      </p:sp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id="{D358873C-68BF-4E89-B536-B3248F2B25FE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222750" y="4406899"/>
            <a:ext cx="3740401" cy="1844675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69A0E900-1FE2-4CC1-B435-93F3A118935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197850" y="979200"/>
            <a:ext cx="3740400" cy="417767"/>
          </a:xfrm>
        </p:spPr>
        <p:txBody>
          <a:bodyPr anchor="b" anchorCtr="0"/>
          <a:lstStyle>
            <a:lvl1pPr marL="0" indent="0">
              <a:buNone/>
              <a:defRPr sz="2400" b="1"/>
            </a:lvl1pPr>
            <a:lvl2pPr marL="0" indent="0">
              <a:buNone/>
              <a:defRPr sz="2400" b="1"/>
            </a:lvl2pPr>
            <a:lvl3pPr marL="0" indent="0">
              <a:buNone/>
              <a:defRPr sz="2400" b="1"/>
            </a:lvl3pPr>
            <a:lvl4pPr marL="0" indent="0">
              <a:buNone/>
              <a:defRPr sz="2400" b="1"/>
            </a:lvl4pPr>
            <a:lvl5pPr marL="0" indent="0">
              <a:buNone/>
              <a:defRPr sz="2400" b="1"/>
            </a:lvl5pPr>
          </a:lstStyle>
          <a:p>
            <a:pPr lvl="0"/>
            <a:r>
              <a:rPr lang="en-GB" dirty="0"/>
              <a:t>Click to add title one line</a:t>
            </a:r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id="{E094886A-F110-4851-B1DA-8DFC40D509F8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8197850" y="4406899"/>
            <a:ext cx="3740400" cy="1844675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91B02311-54A6-4455-B615-BBCA0DA742E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247650" y="1546282"/>
            <a:ext cx="3740400" cy="2664000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lang="en-GB" dirty="0"/>
              <a:t>Click the placeholder and paste image via Skyfish icon</a:t>
            </a:r>
          </a:p>
        </p:txBody>
      </p:sp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710A5827-3485-49A0-81F0-FF89EE34B804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223149" y="1548581"/>
            <a:ext cx="3740400" cy="2664000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lang="en-GB" dirty="0"/>
              <a:t>Click the placeholder and paste image via Skyfish icon</a:t>
            </a:r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E27B0558-FCB8-4A55-9BA9-182DFF0387F4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8198648" y="1546282"/>
            <a:ext cx="3740400" cy="2664000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lang="en-GB" dirty="0"/>
              <a:t>Click the placeholder and paste image via Skyfish ico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1346B4F-F02C-40EC-9B70-932B18214C6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E67EB69-BB5A-407E-BF0A-1CB9B24506D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03EA872-A674-449B-A120-B97244F8E91D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863740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56">
          <p15:clr>
            <a:srgbClr val="F26B43"/>
          </p15:clr>
        </p15:guide>
        <p15:guide id="2" pos="7522" userDrawn="1">
          <p15:clr>
            <a:srgbClr val="F26B43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8297DEAA-3B7B-49C7-8C28-3F21F36A93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1F74546-9D06-4CF7-806D-E04B043BF5A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2F53AB3-8AAF-469F-AD3F-AE5E1A39D7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03EA872-A674-449B-A120-B97244F8E91D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08455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117" userDrawn="1">
          <p15:clr>
            <a:srgbClr val="F26B43"/>
          </p15:clr>
        </p15:guide>
        <p15:guide id="2" pos="6984" userDrawn="1">
          <p15:clr>
            <a:srgbClr val="F26B43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ogo og foot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AE75ABF-082F-4A38-B952-09157E37A81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0A39F3A-7714-4FD6-9132-D60FFA220D9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03EA872-A674-449B-A120-B97244F8E91D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692647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Logo color">
            <a:extLst>
              <a:ext uri="{FF2B5EF4-FFF2-40B4-BE49-F238E27FC236}">
                <a16:creationId xmlns:a16="http://schemas.microsoft.com/office/drawing/2014/main" id="{ADC92552-7939-46C1-AAFE-B97F51EBFFE9}"/>
              </a:ext>
            </a:extLst>
          </p:cNvPr>
          <p:cNvSpPr>
            <a:spLocks noChangeAspect="1"/>
          </p:cNvSpPr>
          <p:nvPr userDrawn="1">
            <p:custDataLst>
              <p:tags r:id="rId14"/>
            </p:custDataLst>
          </p:nvPr>
        </p:nvSpPr>
        <p:spPr bwMode="auto">
          <a:xfrm>
            <a:off x="252000" y="252000"/>
            <a:ext cx="419611" cy="612000"/>
          </a:xfrm>
          <a:custGeom>
            <a:avLst/>
            <a:gdLst>
              <a:gd name="connsiteX0" fmla="*/ 1050029 w 4933949"/>
              <a:gd name="connsiteY0" fmla="*/ 6094413 h 7196138"/>
              <a:gd name="connsiteX1" fmla="*/ 3883920 w 4933949"/>
              <a:gd name="connsiteY1" fmla="*/ 6094413 h 7196138"/>
              <a:gd name="connsiteX2" fmla="*/ 4933949 w 4933949"/>
              <a:gd name="connsiteY2" fmla="*/ 6645934 h 7196138"/>
              <a:gd name="connsiteX3" fmla="*/ 3883920 w 4933949"/>
              <a:gd name="connsiteY3" fmla="*/ 7196138 h 7196138"/>
              <a:gd name="connsiteX4" fmla="*/ 1050029 w 4933949"/>
              <a:gd name="connsiteY4" fmla="*/ 7196138 h 7196138"/>
              <a:gd name="connsiteX5" fmla="*/ 0 w 4933949"/>
              <a:gd name="connsiteY5" fmla="*/ 6645934 h 7196138"/>
              <a:gd name="connsiteX6" fmla="*/ 1050029 w 4933949"/>
              <a:gd name="connsiteY6" fmla="*/ 6094413 h 7196138"/>
              <a:gd name="connsiteX7" fmla="*/ 1050029 w 4933949"/>
              <a:gd name="connsiteY7" fmla="*/ 4730750 h 7196138"/>
              <a:gd name="connsiteX8" fmla="*/ 3883920 w 4933949"/>
              <a:gd name="connsiteY8" fmla="*/ 4730750 h 7196138"/>
              <a:gd name="connsiteX9" fmla="*/ 4933949 w 4933949"/>
              <a:gd name="connsiteY9" fmla="*/ 5283066 h 7196138"/>
              <a:gd name="connsiteX10" fmla="*/ 3883920 w 4933949"/>
              <a:gd name="connsiteY10" fmla="*/ 5834063 h 7196138"/>
              <a:gd name="connsiteX11" fmla="*/ 1050029 w 4933949"/>
              <a:gd name="connsiteY11" fmla="*/ 5834063 h 7196138"/>
              <a:gd name="connsiteX12" fmla="*/ 0 w 4933949"/>
              <a:gd name="connsiteY12" fmla="*/ 5283066 h 7196138"/>
              <a:gd name="connsiteX13" fmla="*/ 1050029 w 4933949"/>
              <a:gd name="connsiteY13" fmla="*/ 4730750 h 7196138"/>
              <a:gd name="connsiteX14" fmla="*/ 1050029 w 4933949"/>
              <a:gd name="connsiteY14" fmla="*/ 3368675 h 7196138"/>
              <a:gd name="connsiteX15" fmla="*/ 3883920 w 4933949"/>
              <a:gd name="connsiteY15" fmla="*/ 3368675 h 7196138"/>
              <a:gd name="connsiteX16" fmla="*/ 4933949 w 4933949"/>
              <a:gd name="connsiteY16" fmla="*/ 3920991 h 7196138"/>
              <a:gd name="connsiteX17" fmla="*/ 3883920 w 4933949"/>
              <a:gd name="connsiteY17" fmla="*/ 4471988 h 7196138"/>
              <a:gd name="connsiteX18" fmla="*/ 1050029 w 4933949"/>
              <a:gd name="connsiteY18" fmla="*/ 4471988 h 7196138"/>
              <a:gd name="connsiteX19" fmla="*/ 0 w 4933949"/>
              <a:gd name="connsiteY19" fmla="*/ 3920991 h 7196138"/>
              <a:gd name="connsiteX20" fmla="*/ 1050029 w 4933949"/>
              <a:gd name="connsiteY20" fmla="*/ 3368675 h 7196138"/>
              <a:gd name="connsiteX21" fmla="*/ 678543 w 4933949"/>
              <a:gd name="connsiteY21" fmla="*/ 305710 h 7196138"/>
              <a:gd name="connsiteX22" fmla="*/ 678543 w 4933949"/>
              <a:gd name="connsiteY22" fmla="*/ 2307316 h 7196138"/>
              <a:gd name="connsiteX23" fmla="*/ 909109 w 4933949"/>
              <a:gd name="connsiteY23" fmla="*/ 2307316 h 7196138"/>
              <a:gd name="connsiteX24" fmla="*/ 1119911 w 4933949"/>
              <a:gd name="connsiteY24" fmla="*/ 2234842 h 7196138"/>
              <a:gd name="connsiteX25" fmla="*/ 1198962 w 4933949"/>
              <a:gd name="connsiteY25" fmla="*/ 1615517 h 7196138"/>
              <a:gd name="connsiteX26" fmla="*/ 1198962 w 4933949"/>
              <a:gd name="connsiteY26" fmla="*/ 996191 h 7196138"/>
              <a:gd name="connsiteX27" fmla="*/ 1119911 w 4933949"/>
              <a:gd name="connsiteY27" fmla="*/ 378184 h 7196138"/>
              <a:gd name="connsiteX28" fmla="*/ 909109 w 4933949"/>
              <a:gd name="connsiteY28" fmla="*/ 305710 h 7196138"/>
              <a:gd name="connsiteX29" fmla="*/ 678543 w 4933949"/>
              <a:gd name="connsiteY29" fmla="*/ 305710 h 7196138"/>
              <a:gd name="connsiteX30" fmla="*/ 1842869 w 4933949"/>
              <a:gd name="connsiteY30" fmla="*/ 0 h 7196138"/>
              <a:gd name="connsiteX31" fmla="*/ 3073618 w 4933949"/>
              <a:gd name="connsiteY31" fmla="*/ 0 h 7196138"/>
              <a:gd name="connsiteX32" fmla="*/ 3114467 w 4933949"/>
              <a:gd name="connsiteY32" fmla="*/ 14495 h 7196138"/>
              <a:gd name="connsiteX33" fmla="*/ 3128962 w 4933949"/>
              <a:gd name="connsiteY33" fmla="*/ 54027 h 7196138"/>
              <a:gd name="connsiteX34" fmla="*/ 3128962 w 4933949"/>
              <a:gd name="connsiteY34" fmla="*/ 275402 h 7196138"/>
              <a:gd name="connsiteX35" fmla="*/ 3114467 w 4933949"/>
              <a:gd name="connsiteY35" fmla="*/ 314934 h 7196138"/>
              <a:gd name="connsiteX36" fmla="*/ 3073618 w 4933949"/>
              <a:gd name="connsiteY36" fmla="*/ 329429 h 7196138"/>
              <a:gd name="connsiteX37" fmla="*/ 2679620 w 4933949"/>
              <a:gd name="connsiteY37" fmla="*/ 329429 h 7196138"/>
              <a:gd name="connsiteX38" fmla="*/ 2679620 w 4933949"/>
              <a:gd name="connsiteY38" fmla="*/ 2558999 h 7196138"/>
              <a:gd name="connsiteX39" fmla="*/ 2665125 w 4933949"/>
              <a:gd name="connsiteY39" fmla="*/ 2598530 h 7196138"/>
              <a:gd name="connsiteX40" fmla="*/ 2625594 w 4933949"/>
              <a:gd name="connsiteY40" fmla="*/ 2613025 h 7196138"/>
              <a:gd name="connsiteX41" fmla="*/ 2290893 w 4933949"/>
              <a:gd name="connsiteY41" fmla="*/ 2613025 h 7196138"/>
              <a:gd name="connsiteX42" fmla="*/ 2250044 w 4933949"/>
              <a:gd name="connsiteY42" fmla="*/ 2598530 h 7196138"/>
              <a:gd name="connsiteX43" fmla="*/ 2235549 w 4933949"/>
              <a:gd name="connsiteY43" fmla="*/ 2558999 h 7196138"/>
              <a:gd name="connsiteX44" fmla="*/ 2235549 w 4933949"/>
              <a:gd name="connsiteY44" fmla="*/ 329429 h 7196138"/>
              <a:gd name="connsiteX45" fmla="*/ 1842869 w 4933949"/>
              <a:gd name="connsiteY45" fmla="*/ 329429 h 7196138"/>
              <a:gd name="connsiteX46" fmla="*/ 1802020 w 4933949"/>
              <a:gd name="connsiteY46" fmla="*/ 314934 h 7196138"/>
              <a:gd name="connsiteX47" fmla="*/ 1787525 w 4933949"/>
              <a:gd name="connsiteY47" fmla="*/ 275402 h 7196138"/>
              <a:gd name="connsiteX48" fmla="*/ 1787525 w 4933949"/>
              <a:gd name="connsiteY48" fmla="*/ 54027 h 7196138"/>
              <a:gd name="connsiteX49" fmla="*/ 1802020 w 4933949"/>
              <a:gd name="connsiteY49" fmla="*/ 14495 h 7196138"/>
              <a:gd name="connsiteX50" fmla="*/ 1842869 w 4933949"/>
              <a:gd name="connsiteY50" fmla="*/ 0 h 7196138"/>
              <a:gd name="connsiteX51" fmla="*/ 317544 w 4933949"/>
              <a:gd name="connsiteY51" fmla="*/ 0 h 7196138"/>
              <a:gd name="connsiteX52" fmla="*/ 972349 w 4933949"/>
              <a:gd name="connsiteY52" fmla="*/ 0 h 7196138"/>
              <a:gd name="connsiteX53" fmla="*/ 1476958 w 4933949"/>
              <a:gd name="connsiteY53" fmla="*/ 179209 h 7196138"/>
              <a:gd name="connsiteX54" fmla="*/ 1619250 w 4933949"/>
              <a:gd name="connsiteY54" fmla="*/ 1025181 h 7196138"/>
              <a:gd name="connsiteX55" fmla="*/ 1619250 w 4933949"/>
              <a:gd name="connsiteY55" fmla="*/ 1587845 h 7196138"/>
              <a:gd name="connsiteX56" fmla="*/ 1476958 w 4933949"/>
              <a:gd name="connsiteY56" fmla="*/ 2433816 h 7196138"/>
              <a:gd name="connsiteX57" fmla="*/ 972349 w 4933949"/>
              <a:gd name="connsiteY57" fmla="*/ 2613025 h 7196138"/>
              <a:gd name="connsiteX58" fmla="*/ 317544 w 4933949"/>
              <a:gd name="connsiteY58" fmla="*/ 2613025 h 7196138"/>
              <a:gd name="connsiteX59" fmla="*/ 278018 w 4933949"/>
              <a:gd name="connsiteY59" fmla="*/ 2598530 h 7196138"/>
              <a:gd name="connsiteX60" fmla="*/ 263525 w 4933949"/>
              <a:gd name="connsiteY60" fmla="*/ 2558999 h 7196138"/>
              <a:gd name="connsiteX61" fmla="*/ 263525 w 4933949"/>
              <a:gd name="connsiteY61" fmla="*/ 54027 h 7196138"/>
              <a:gd name="connsiteX62" fmla="*/ 278018 w 4933949"/>
              <a:gd name="connsiteY62" fmla="*/ 14495 h 7196138"/>
              <a:gd name="connsiteX63" fmla="*/ 317544 w 4933949"/>
              <a:gd name="connsiteY63" fmla="*/ 0 h 7196138"/>
              <a:gd name="connsiteX64" fmla="*/ 3359213 w 4933949"/>
              <a:gd name="connsiteY64" fmla="*/ 0 h 7196138"/>
              <a:gd name="connsiteX65" fmla="*/ 3664991 w 4933949"/>
              <a:gd name="connsiteY65" fmla="*/ 0 h 7196138"/>
              <a:gd name="connsiteX66" fmla="*/ 3705850 w 4933949"/>
              <a:gd name="connsiteY66" fmla="*/ 14497 h 7196138"/>
              <a:gd name="connsiteX67" fmla="*/ 3720348 w 4933949"/>
              <a:gd name="connsiteY67" fmla="*/ 54035 h 7196138"/>
              <a:gd name="connsiteX68" fmla="*/ 3720348 w 4933949"/>
              <a:gd name="connsiteY68" fmla="*/ 1903062 h 7196138"/>
              <a:gd name="connsiteX69" fmla="*/ 3798111 w 4933949"/>
              <a:gd name="connsiteY69" fmla="*/ 2279984 h 7196138"/>
              <a:gd name="connsiteX70" fmla="*/ 3976042 w 4933949"/>
              <a:gd name="connsiteY70" fmla="*/ 2349833 h 7196138"/>
              <a:gd name="connsiteX71" fmla="*/ 4163200 w 4933949"/>
              <a:gd name="connsiteY71" fmla="*/ 2279984 h 7196138"/>
              <a:gd name="connsiteX72" fmla="*/ 4240963 w 4933949"/>
              <a:gd name="connsiteY72" fmla="*/ 1903062 h 7196138"/>
              <a:gd name="connsiteX73" fmla="*/ 4240963 w 4933949"/>
              <a:gd name="connsiteY73" fmla="*/ 54035 h 7196138"/>
              <a:gd name="connsiteX74" fmla="*/ 4255461 w 4933949"/>
              <a:gd name="connsiteY74" fmla="*/ 14497 h 7196138"/>
              <a:gd name="connsiteX75" fmla="*/ 4295001 w 4933949"/>
              <a:gd name="connsiteY75" fmla="*/ 0 h 7196138"/>
              <a:gd name="connsiteX76" fmla="*/ 4602098 w 4933949"/>
              <a:gd name="connsiteY76" fmla="*/ 0 h 7196138"/>
              <a:gd name="connsiteX77" fmla="*/ 4641638 w 4933949"/>
              <a:gd name="connsiteY77" fmla="*/ 14497 h 7196138"/>
              <a:gd name="connsiteX78" fmla="*/ 4656136 w 4933949"/>
              <a:gd name="connsiteY78" fmla="*/ 54035 h 7196138"/>
              <a:gd name="connsiteX79" fmla="*/ 4656136 w 4933949"/>
              <a:gd name="connsiteY79" fmla="*/ 1904380 h 7196138"/>
              <a:gd name="connsiteX80" fmla="*/ 4507201 w 4933949"/>
              <a:gd name="connsiteY80" fmla="*/ 2459220 h 7196138"/>
              <a:gd name="connsiteX81" fmla="*/ 3981314 w 4933949"/>
              <a:gd name="connsiteY81" fmla="*/ 2646363 h 7196138"/>
              <a:gd name="connsiteX82" fmla="*/ 3447519 w 4933949"/>
              <a:gd name="connsiteY82" fmla="*/ 2459220 h 7196138"/>
              <a:gd name="connsiteX83" fmla="*/ 3305174 w 4933949"/>
              <a:gd name="connsiteY83" fmla="*/ 1904380 h 7196138"/>
              <a:gd name="connsiteX84" fmla="*/ 3305174 w 4933949"/>
              <a:gd name="connsiteY84" fmla="*/ 54035 h 7196138"/>
              <a:gd name="connsiteX85" fmla="*/ 3318354 w 4933949"/>
              <a:gd name="connsiteY85" fmla="*/ 14497 h 7196138"/>
              <a:gd name="connsiteX86" fmla="*/ 3359213 w 4933949"/>
              <a:gd name="connsiteY86" fmla="*/ 0 h 7196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</a:cxnLst>
            <a:rect l="l" t="t" r="r" b="b"/>
            <a:pathLst>
              <a:path w="4933949" h="7196138">
                <a:moveTo>
                  <a:pt x="1050029" y="6094413"/>
                </a:moveTo>
                <a:cubicBezTo>
                  <a:pt x="2409664" y="6623557"/>
                  <a:pt x="2524285" y="6623557"/>
                  <a:pt x="3883920" y="6094413"/>
                </a:cubicBezTo>
                <a:cubicBezTo>
                  <a:pt x="3883920" y="6094413"/>
                  <a:pt x="3883920" y="6094413"/>
                  <a:pt x="4933949" y="6645934"/>
                </a:cubicBezTo>
                <a:cubicBezTo>
                  <a:pt x="4933949" y="6645934"/>
                  <a:pt x="4933949" y="6645934"/>
                  <a:pt x="3883920" y="7196138"/>
                </a:cubicBezTo>
                <a:cubicBezTo>
                  <a:pt x="2524285" y="6668311"/>
                  <a:pt x="2409664" y="6668311"/>
                  <a:pt x="1050029" y="7196138"/>
                </a:cubicBezTo>
                <a:cubicBezTo>
                  <a:pt x="1050029" y="7196138"/>
                  <a:pt x="1050029" y="7196138"/>
                  <a:pt x="0" y="6645934"/>
                </a:cubicBezTo>
                <a:cubicBezTo>
                  <a:pt x="0" y="6645934"/>
                  <a:pt x="0" y="6645934"/>
                  <a:pt x="1050029" y="6094413"/>
                </a:cubicBezTo>
                <a:close/>
                <a:moveTo>
                  <a:pt x="1050029" y="4730750"/>
                </a:moveTo>
                <a:cubicBezTo>
                  <a:pt x="2409664" y="5260657"/>
                  <a:pt x="2524285" y="5260657"/>
                  <a:pt x="3883920" y="4730750"/>
                </a:cubicBezTo>
                <a:cubicBezTo>
                  <a:pt x="3883920" y="4730750"/>
                  <a:pt x="3883920" y="4730750"/>
                  <a:pt x="4933949" y="5283066"/>
                </a:cubicBezTo>
                <a:cubicBezTo>
                  <a:pt x="4933949" y="5283066"/>
                  <a:pt x="4933949" y="5283066"/>
                  <a:pt x="3883920" y="5834063"/>
                </a:cubicBezTo>
                <a:cubicBezTo>
                  <a:pt x="2524285" y="5305475"/>
                  <a:pt x="2409664" y="5305475"/>
                  <a:pt x="1050029" y="5834063"/>
                </a:cubicBezTo>
                <a:cubicBezTo>
                  <a:pt x="1050029" y="5834063"/>
                  <a:pt x="1050029" y="5834063"/>
                  <a:pt x="0" y="5283066"/>
                </a:cubicBezTo>
                <a:cubicBezTo>
                  <a:pt x="0" y="5283066"/>
                  <a:pt x="0" y="5283066"/>
                  <a:pt x="1050029" y="4730750"/>
                </a:cubicBezTo>
                <a:close/>
                <a:moveTo>
                  <a:pt x="1050029" y="3368675"/>
                </a:moveTo>
                <a:cubicBezTo>
                  <a:pt x="2409664" y="3898582"/>
                  <a:pt x="2524285" y="3898582"/>
                  <a:pt x="3883920" y="3368675"/>
                </a:cubicBezTo>
                <a:cubicBezTo>
                  <a:pt x="3883920" y="3368675"/>
                  <a:pt x="3883920" y="3368675"/>
                  <a:pt x="4933949" y="3920991"/>
                </a:cubicBezTo>
                <a:cubicBezTo>
                  <a:pt x="4933949" y="3920991"/>
                  <a:pt x="4933949" y="3920991"/>
                  <a:pt x="3883920" y="4471988"/>
                </a:cubicBezTo>
                <a:cubicBezTo>
                  <a:pt x="2524285" y="3943400"/>
                  <a:pt x="2409664" y="3943400"/>
                  <a:pt x="1050029" y="4471988"/>
                </a:cubicBezTo>
                <a:cubicBezTo>
                  <a:pt x="1050029" y="4471988"/>
                  <a:pt x="1050029" y="4471988"/>
                  <a:pt x="0" y="3920991"/>
                </a:cubicBezTo>
                <a:cubicBezTo>
                  <a:pt x="0" y="3920991"/>
                  <a:pt x="0" y="3920991"/>
                  <a:pt x="1050029" y="3368675"/>
                </a:cubicBezTo>
                <a:close/>
                <a:moveTo>
                  <a:pt x="678543" y="305710"/>
                </a:moveTo>
                <a:lnTo>
                  <a:pt x="678543" y="2307316"/>
                </a:lnTo>
                <a:cubicBezTo>
                  <a:pt x="678543" y="2307316"/>
                  <a:pt x="678543" y="2307316"/>
                  <a:pt x="909109" y="2307316"/>
                </a:cubicBezTo>
                <a:cubicBezTo>
                  <a:pt x="1011875" y="2307316"/>
                  <a:pt x="1072481" y="2291503"/>
                  <a:pt x="1119911" y="2234842"/>
                </a:cubicBezTo>
                <a:cubicBezTo>
                  <a:pt x="1192375" y="2147873"/>
                  <a:pt x="1198962" y="1971299"/>
                  <a:pt x="1198962" y="1615517"/>
                </a:cubicBezTo>
                <a:cubicBezTo>
                  <a:pt x="1198962" y="1615517"/>
                  <a:pt x="1198962" y="1615517"/>
                  <a:pt x="1198962" y="996191"/>
                </a:cubicBezTo>
                <a:cubicBezTo>
                  <a:pt x="1198962" y="641727"/>
                  <a:pt x="1192375" y="465153"/>
                  <a:pt x="1119911" y="378184"/>
                </a:cubicBezTo>
                <a:cubicBezTo>
                  <a:pt x="1072481" y="321522"/>
                  <a:pt x="1011875" y="305710"/>
                  <a:pt x="909109" y="305710"/>
                </a:cubicBezTo>
                <a:cubicBezTo>
                  <a:pt x="909109" y="305710"/>
                  <a:pt x="909109" y="305710"/>
                  <a:pt x="678543" y="305710"/>
                </a:cubicBezTo>
                <a:close/>
                <a:moveTo>
                  <a:pt x="1842869" y="0"/>
                </a:moveTo>
                <a:cubicBezTo>
                  <a:pt x="1842869" y="0"/>
                  <a:pt x="1842869" y="0"/>
                  <a:pt x="3073618" y="0"/>
                </a:cubicBezTo>
                <a:cubicBezTo>
                  <a:pt x="3093384" y="0"/>
                  <a:pt x="3105243" y="5271"/>
                  <a:pt x="3114467" y="14495"/>
                </a:cubicBezTo>
                <a:cubicBezTo>
                  <a:pt x="3122374" y="22401"/>
                  <a:pt x="3128962" y="34261"/>
                  <a:pt x="3128962" y="54027"/>
                </a:cubicBezTo>
                <a:cubicBezTo>
                  <a:pt x="3128962" y="54027"/>
                  <a:pt x="3128962" y="54027"/>
                  <a:pt x="3128962" y="275402"/>
                </a:cubicBezTo>
                <a:cubicBezTo>
                  <a:pt x="3128962" y="295168"/>
                  <a:pt x="3122374" y="307028"/>
                  <a:pt x="3114467" y="314934"/>
                </a:cubicBezTo>
                <a:cubicBezTo>
                  <a:pt x="3105243" y="324158"/>
                  <a:pt x="3093384" y="329429"/>
                  <a:pt x="3073618" y="329429"/>
                </a:cubicBezTo>
                <a:cubicBezTo>
                  <a:pt x="3073618" y="329429"/>
                  <a:pt x="3073618" y="329429"/>
                  <a:pt x="2679620" y="329429"/>
                </a:cubicBezTo>
                <a:cubicBezTo>
                  <a:pt x="2679620" y="329429"/>
                  <a:pt x="2679620" y="329429"/>
                  <a:pt x="2679620" y="2558999"/>
                </a:cubicBezTo>
                <a:cubicBezTo>
                  <a:pt x="2679620" y="2578765"/>
                  <a:pt x="2674349" y="2590624"/>
                  <a:pt x="2665125" y="2598530"/>
                </a:cubicBezTo>
                <a:cubicBezTo>
                  <a:pt x="2657219" y="2607755"/>
                  <a:pt x="2645360" y="2613025"/>
                  <a:pt x="2625594" y="2613025"/>
                </a:cubicBezTo>
                <a:cubicBezTo>
                  <a:pt x="2625594" y="2613025"/>
                  <a:pt x="2625594" y="2613025"/>
                  <a:pt x="2290893" y="2613025"/>
                </a:cubicBezTo>
                <a:cubicBezTo>
                  <a:pt x="2271128" y="2613025"/>
                  <a:pt x="2259268" y="2607755"/>
                  <a:pt x="2250044" y="2598530"/>
                </a:cubicBezTo>
                <a:cubicBezTo>
                  <a:pt x="2240820" y="2590624"/>
                  <a:pt x="2235549" y="2578765"/>
                  <a:pt x="2235549" y="2558999"/>
                </a:cubicBezTo>
                <a:cubicBezTo>
                  <a:pt x="2235549" y="2558999"/>
                  <a:pt x="2235549" y="2558999"/>
                  <a:pt x="2235549" y="329429"/>
                </a:cubicBezTo>
                <a:cubicBezTo>
                  <a:pt x="2235549" y="329429"/>
                  <a:pt x="2235549" y="329429"/>
                  <a:pt x="1842869" y="329429"/>
                </a:cubicBezTo>
                <a:cubicBezTo>
                  <a:pt x="1823104" y="329429"/>
                  <a:pt x="1811244" y="324158"/>
                  <a:pt x="1802020" y="314934"/>
                </a:cubicBezTo>
                <a:cubicBezTo>
                  <a:pt x="1792796" y="307028"/>
                  <a:pt x="1787525" y="295168"/>
                  <a:pt x="1787525" y="275402"/>
                </a:cubicBezTo>
                <a:cubicBezTo>
                  <a:pt x="1787525" y="275402"/>
                  <a:pt x="1787525" y="275402"/>
                  <a:pt x="1787525" y="54027"/>
                </a:cubicBezTo>
                <a:cubicBezTo>
                  <a:pt x="1787525" y="34261"/>
                  <a:pt x="1792796" y="22401"/>
                  <a:pt x="1802020" y="14495"/>
                </a:cubicBezTo>
                <a:cubicBezTo>
                  <a:pt x="1811244" y="5271"/>
                  <a:pt x="1823104" y="0"/>
                  <a:pt x="1842869" y="0"/>
                </a:cubicBezTo>
                <a:close/>
                <a:moveTo>
                  <a:pt x="317544" y="0"/>
                </a:moveTo>
                <a:cubicBezTo>
                  <a:pt x="317544" y="0"/>
                  <a:pt x="317544" y="0"/>
                  <a:pt x="972349" y="0"/>
                </a:cubicBezTo>
                <a:cubicBezTo>
                  <a:pt x="1226630" y="0"/>
                  <a:pt x="1382097" y="57980"/>
                  <a:pt x="1476958" y="179209"/>
                </a:cubicBezTo>
                <a:cubicBezTo>
                  <a:pt x="1615298" y="345241"/>
                  <a:pt x="1619250" y="614055"/>
                  <a:pt x="1619250" y="1025181"/>
                </a:cubicBezTo>
                <a:cubicBezTo>
                  <a:pt x="1619250" y="1025181"/>
                  <a:pt x="1619250" y="1025181"/>
                  <a:pt x="1619250" y="1587845"/>
                </a:cubicBezTo>
                <a:cubicBezTo>
                  <a:pt x="1619250" y="1998971"/>
                  <a:pt x="1615298" y="2267784"/>
                  <a:pt x="1476958" y="2433816"/>
                </a:cubicBezTo>
                <a:cubicBezTo>
                  <a:pt x="1382097" y="2555046"/>
                  <a:pt x="1226630" y="2613025"/>
                  <a:pt x="972349" y="2613025"/>
                </a:cubicBezTo>
                <a:cubicBezTo>
                  <a:pt x="972349" y="2613025"/>
                  <a:pt x="972349" y="2613025"/>
                  <a:pt x="317544" y="2613025"/>
                </a:cubicBezTo>
                <a:cubicBezTo>
                  <a:pt x="297781" y="2613025"/>
                  <a:pt x="285923" y="2607755"/>
                  <a:pt x="278018" y="2598530"/>
                </a:cubicBezTo>
                <a:cubicBezTo>
                  <a:pt x="268795" y="2590624"/>
                  <a:pt x="263525" y="2578765"/>
                  <a:pt x="263525" y="2558999"/>
                </a:cubicBezTo>
                <a:cubicBezTo>
                  <a:pt x="263525" y="2558999"/>
                  <a:pt x="263525" y="2558999"/>
                  <a:pt x="263525" y="54027"/>
                </a:cubicBezTo>
                <a:cubicBezTo>
                  <a:pt x="263525" y="34261"/>
                  <a:pt x="268795" y="22401"/>
                  <a:pt x="278018" y="14495"/>
                </a:cubicBezTo>
                <a:cubicBezTo>
                  <a:pt x="285923" y="5271"/>
                  <a:pt x="297781" y="0"/>
                  <a:pt x="317544" y="0"/>
                </a:cubicBezTo>
                <a:close/>
                <a:moveTo>
                  <a:pt x="3359213" y="0"/>
                </a:moveTo>
                <a:cubicBezTo>
                  <a:pt x="3359213" y="0"/>
                  <a:pt x="3359213" y="0"/>
                  <a:pt x="3664991" y="0"/>
                </a:cubicBezTo>
                <a:cubicBezTo>
                  <a:pt x="3684762" y="0"/>
                  <a:pt x="3696624" y="5272"/>
                  <a:pt x="3705850" y="14497"/>
                </a:cubicBezTo>
                <a:cubicBezTo>
                  <a:pt x="3715076" y="22405"/>
                  <a:pt x="3720348" y="34266"/>
                  <a:pt x="3720348" y="54035"/>
                </a:cubicBezTo>
                <a:cubicBezTo>
                  <a:pt x="3720348" y="54035"/>
                  <a:pt x="3720348" y="54035"/>
                  <a:pt x="3720348" y="1903062"/>
                </a:cubicBezTo>
                <a:cubicBezTo>
                  <a:pt x="3720348" y="2103384"/>
                  <a:pt x="3738800" y="2214089"/>
                  <a:pt x="3798111" y="2279984"/>
                </a:cubicBezTo>
                <a:cubicBezTo>
                  <a:pt x="3841605" y="2328747"/>
                  <a:pt x="3899597" y="2349833"/>
                  <a:pt x="3976042" y="2349833"/>
                </a:cubicBezTo>
                <a:cubicBezTo>
                  <a:pt x="4060395" y="2349833"/>
                  <a:pt x="4121023" y="2326111"/>
                  <a:pt x="4163200" y="2279984"/>
                </a:cubicBezTo>
                <a:cubicBezTo>
                  <a:pt x="4226464" y="2211453"/>
                  <a:pt x="4240963" y="2096795"/>
                  <a:pt x="4240963" y="1903062"/>
                </a:cubicBezTo>
                <a:cubicBezTo>
                  <a:pt x="4240963" y="1903062"/>
                  <a:pt x="4240963" y="1903062"/>
                  <a:pt x="4240963" y="54035"/>
                </a:cubicBezTo>
                <a:cubicBezTo>
                  <a:pt x="4240963" y="34266"/>
                  <a:pt x="4246235" y="22405"/>
                  <a:pt x="4255461" y="14497"/>
                </a:cubicBezTo>
                <a:cubicBezTo>
                  <a:pt x="4263369" y="5272"/>
                  <a:pt x="4276549" y="0"/>
                  <a:pt x="4295001" y="0"/>
                </a:cubicBezTo>
                <a:cubicBezTo>
                  <a:pt x="4295001" y="0"/>
                  <a:pt x="4295001" y="0"/>
                  <a:pt x="4602098" y="0"/>
                </a:cubicBezTo>
                <a:cubicBezTo>
                  <a:pt x="4621868" y="0"/>
                  <a:pt x="4633730" y="5272"/>
                  <a:pt x="4641638" y="14497"/>
                </a:cubicBezTo>
                <a:cubicBezTo>
                  <a:pt x="4650864" y="22405"/>
                  <a:pt x="4656136" y="34266"/>
                  <a:pt x="4656136" y="54035"/>
                </a:cubicBezTo>
                <a:cubicBezTo>
                  <a:pt x="4656136" y="54035"/>
                  <a:pt x="4656136" y="54035"/>
                  <a:pt x="4656136" y="1904380"/>
                </a:cubicBezTo>
                <a:cubicBezTo>
                  <a:pt x="4656136" y="2153465"/>
                  <a:pt x="4627140" y="2319521"/>
                  <a:pt x="4507201" y="2459220"/>
                </a:cubicBezTo>
                <a:cubicBezTo>
                  <a:pt x="4405714" y="2577832"/>
                  <a:pt x="4239645" y="2646363"/>
                  <a:pt x="3981314" y="2646363"/>
                </a:cubicBezTo>
                <a:cubicBezTo>
                  <a:pt x="3726938" y="2646363"/>
                  <a:pt x="3559550" y="2581786"/>
                  <a:pt x="3447519" y="2459220"/>
                </a:cubicBezTo>
                <a:cubicBezTo>
                  <a:pt x="3340760" y="2341926"/>
                  <a:pt x="3305174" y="2173233"/>
                  <a:pt x="3305174" y="1904380"/>
                </a:cubicBezTo>
                <a:cubicBezTo>
                  <a:pt x="3305174" y="1904380"/>
                  <a:pt x="3305174" y="1904380"/>
                  <a:pt x="3305174" y="54035"/>
                </a:cubicBezTo>
                <a:cubicBezTo>
                  <a:pt x="3305174" y="34266"/>
                  <a:pt x="3310446" y="22405"/>
                  <a:pt x="3318354" y="14497"/>
                </a:cubicBezTo>
                <a:cubicBezTo>
                  <a:pt x="3327580" y="5272"/>
                  <a:pt x="3339442" y="0"/>
                  <a:pt x="3359213" y="0"/>
                </a:cubicBezTo>
                <a:close/>
              </a:path>
            </a:pathLst>
          </a:custGeom>
          <a:solidFill>
            <a:srgbClr val="99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sp>
        <p:nvSpPr>
          <p:cNvPr id="11" name="Bottom bar">
            <a:extLst>
              <a:ext uri="{FF2B5EF4-FFF2-40B4-BE49-F238E27FC236}">
                <a16:creationId xmlns:a16="http://schemas.microsoft.com/office/drawing/2014/main" id="{FFFFD011-0D94-46EE-B45C-787FE82C3B5E}"/>
              </a:ext>
            </a:extLst>
          </p:cNvPr>
          <p:cNvSpPr/>
          <p:nvPr userDrawn="1"/>
        </p:nvSpPr>
        <p:spPr bwMode="auto">
          <a:xfrm>
            <a:off x="0" y="6541200"/>
            <a:ext cx="12193200" cy="316800"/>
          </a:xfrm>
          <a:prstGeom prst="rect">
            <a:avLst/>
          </a:prstGeom>
          <a:solidFill>
            <a:srgbClr val="990000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432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600" b="0" i="0" u="none" strike="noStrike" cap="none" normalizeH="0" baseline="0" dirty="0" err="1">
              <a:ln>
                <a:noFill/>
              </a:ln>
              <a:solidFill>
                <a:srgbClr val="FFFFFF"/>
              </a:solidFill>
              <a:effectLst/>
              <a:latin typeface="+mn-lt"/>
              <a:ea typeface="ＭＳ Ｐゴシック" pitchFamily="-80" charset="-128"/>
            </a:endParaRPr>
          </a:p>
        </p:txBody>
      </p:sp>
      <p:sp>
        <p:nvSpPr>
          <p:cNvPr id="3" name="FLD_Presentation Title"/>
          <p:cNvSpPr>
            <a:spLocks noGrp="1"/>
          </p:cNvSpPr>
          <p:nvPr>
            <p:ph type="ftr" sz="quarter" idx="3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spcBef>
                <a:spcPts val="0"/>
              </a:spcBef>
              <a:defRPr sz="700" b="0">
                <a:noFill/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506450" y="6541200"/>
            <a:ext cx="432600" cy="3168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700" b="1">
                <a:solidFill>
                  <a:schemeClr val="bg1"/>
                </a:solidFill>
                <a:latin typeface="+mn-lt"/>
              </a:defRPr>
            </a:lvl1pPr>
          </a:lstStyle>
          <a:p>
            <a:fld id="{103EA872-A674-449B-A120-B97244F8E91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366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774726" y="426127"/>
            <a:ext cx="9312374" cy="9727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1366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774726" y="1706328"/>
            <a:ext cx="9312374" cy="45455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endParaRPr lang="en-GB" dirty="0"/>
          </a:p>
        </p:txBody>
      </p:sp>
      <p:sp>
        <p:nvSpPr>
          <p:cNvPr id="113676" name="text" descr="{&quot;templafy&quot;:{&quot;id&quot;:&quot;2fce62a0-f28a-44e1-a519-0cbe37b25f7a&quot;}}" title="UserProfile.Offices.Workarea_{{DocumentLanguage}}"/>
          <p:cNvSpPr>
            <a:spLocks noChangeArrowheads="1"/>
          </p:cNvSpPr>
          <p:nvPr/>
        </p:nvSpPr>
        <p:spPr bwMode="auto">
          <a:xfrm>
            <a:off x="1774726" y="6541200"/>
            <a:ext cx="3397071" cy="31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 anchorCtr="0"/>
          <a:lstStyle/>
          <a:p>
            <a:pPr algn="l" eaLnBrk="0" hangingPunct="0">
              <a:spcBef>
                <a:spcPct val="0"/>
              </a:spcBef>
            </a:pPr>
            <a:r>
              <a:rPr lang="en-GB" sz="700" b="1" dirty="0">
                <a:solidFill>
                  <a:schemeClr val="bg1"/>
                </a:solidFill>
                <a:latin typeface="+mn-lt"/>
              </a:rPr>
              <a:t>DTU</a:t>
            </a:r>
          </a:p>
        </p:txBody>
      </p:sp>
      <p:sp>
        <p:nvSpPr>
          <p:cNvPr id="5" name="date" descr="{&quot;templafy&quot;:{&quot;id&quot;:&quot;58465eeb-cfe0-4970-97ec-88179dc0a9c2&quot;}}" title="Form.Date">
            <a:extLst>
              <a:ext uri="{FF2B5EF4-FFF2-40B4-BE49-F238E27FC236}">
                <a16:creationId xmlns:a16="http://schemas.microsoft.com/office/drawing/2014/main" id="{792B975C-625D-4095-8E1D-63F20A11B57C}"/>
              </a:ext>
            </a:extLst>
          </p:cNvPr>
          <p:cNvSpPr/>
          <p:nvPr userDrawn="1"/>
        </p:nvSpPr>
        <p:spPr bwMode="auto">
          <a:xfrm>
            <a:off x="251363" y="6541200"/>
            <a:ext cx="1104013" cy="3168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7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ＭＳ Ｐゴシック" pitchFamily="-80" charset="-128"/>
              </a:rPr>
              <a:t>Date</a:t>
            </a:r>
          </a:p>
        </p:txBody>
      </p:sp>
      <p:sp>
        <p:nvSpPr>
          <p:cNvPr id="7" name="text" descr="{&quot;templafy&quot;:{&quot;id&quot;:&quot;5020bdfb-1912-4d6d-a5c3-71b7da283692&quot;}}" title="Form.PresentationTitle">
            <a:extLst>
              <a:ext uri="{FF2B5EF4-FFF2-40B4-BE49-F238E27FC236}">
                <a16:creationId xmlns:a16="http://schemas.microsoft.com/office/drawing/2014/main" id="{06B09BDB-1C7D-4F8A-8F1B-82D88054A428}"/>
              </a:ext>
            </a:extLst>
          </p:cNvPr>
          <p:cNvSpPr txBox="1"/>
          <p:nvPr userDrawn="1"/>
        </p:nvSpPr>
        <p:spPr>
          <a:xfrm>
            <a:off x="5591149" y="6541200"/>
            <a:ext cx="5495949" cy="3168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r>
              <a:rPr lang="en-GB" sz="700" dirty="0">
                <a:solidFill>
                  <a:schemeClr val="bg1"/>
                </a:solidFill>
                <a:latin typeface="+mn-lt"/>
              </a:rPr>
              <a:t>Title</a:t>
            </a:r>
          </a:p>
        </p:txBody>
      </p:sp>
      <p:sp>
        <p:nvSpPr>
          <p:cNvPr id="2" name="Top bar">
            <a:extLst>
              <a:ext uri="{FF2B5EF4-FFF2-40B4-BE49-F238E27FC236}">
                <a16:creationId xmlns:a16="http://schemas.microsoft.com/office/drawing/2014/main" id="{35912424-89BF-4A93-9096-3282916C71FE}"/>
              </a:ext>
            </a:extLst>
          </p:cNvPr>
          <p:cNvSpPr/>
          <p:nvPr userDrawn="1"/>
        </p:nvSpPr>
        <p:spPr bwMode="auto">
          <a:xfrm>
            <a:off x="0" y="0"/>
            <a:ext cx="12193200" cy="50400"/>
          </a:xfrm>
          <a:prstGeom prst="rect">
            <a:avLst/>
          </a:prstGeom>
          <a:solidFill>
            <a:srgbClr val="990000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432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600" b="0" i="0" u="none" strike="noStrike" cap="none" normalizeH="0" baseline="0" dirty="0" err="1">
              <a:ln>
                <a:noFill/>
              </a:ln>
              <a:solidFill>
                <a:srgbClr val="FFFFFF"/>
              </a:solidFill>
              <a:effectLst/>
              <a:latin typeface="+mn-lt"/>
              <a:ea typeface="ＭＳ Ｐゴシック" pitchFamily="-8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4547026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71" r:id="rId2"/>
    <p:sldLayoutId id="2147483664" r:id="rId3"/>
    <p:sldLayoutId id="2147483677" r:id="rId4"/>
    <p:sldLayoutId id="2147483672" r:id="rId5"/>
    <p:sldLayoutId id="2147483673" r:id="rId6"/>
    <p:sldLayoutId id="2147483676" r:id="rId7"/>
    <p:sldLayoutId id="2147483666" r:id="rId8"/>
    <p:sldLayoutId id="2147483667" r:id="rId9"/>
    <p:sldLayoutId id="2147483668" r:id="rId10"/>
    <p:sldLayoutId id="2147483669" r:id="rId11"/>
    <p:sldLayoutId id="2147483678" r:id="rId12"/>
  </p:sldLayoutIdLst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00000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Verdana" pitchFamily="34" charset="0"/>
          <a:ea typeface="ＭＳ Ｐゴシック" pitchFamily="-80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Verdana" pitchFamily="34" charset="0"/>
          <a:ea typeface="ＭＳ Ｐゴシック" pitchFamily="-80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Verdana" pitchFamily="34" charset="0"/>
          <a:ea typeface="ＭＳ Ｐゴシック" pitchFamily="-80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Verdana" pitchFamily="34" charset="0"/>
          <a:ea typeface="ＭＳ Ｐゴシック" pitchFamily="-80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Verdana" pitchFamily="34" charset="0"/>
          <a:ea typeface="ＭＳ Ｐゴシック" pitchFamily="-80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Verdana" pitchFamily="34" charset="0"/>
          <a:ea typeface="ＭＳ Ｐゴシック" pitchFamily="-80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Verdana" pitchFamily="34" charset="0"/>
          <a:ea typeface="ＭＳ Ｐゴシック" pitchFamily="-80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Verdana" pitchFamily="34" charset="0"/>
          <a:ea typeface="ＭＳ Ｐゴシック" pitchFamily="-80" charset="-128"/>
        </a:defRPr>
      </a:lvl9pPr>
    </p:titleStyle>
    <p:bodyStyle>
      <a:lvl1pPr marL="198000" indent="-198000" algn="l" rtl="0" eaLnBrk="1" fontAlgn="base" hangingPunct="1">
        <a:spcBef>
          <a:spcPct val="20000"/>
        </a:spcBef>
        <a:spcAft>
          <a:spcPct val="0"/>
        </a:spcAft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14000" indent="-198000" algn="l" rtl="0" eaLnBrk="1" fontAlgn="base" hangingPunct="1">
        <a:spcBef>
          <a:spcPct val="20000"/>
        </a:spcBef>
        <a:spcAft>
          <a:spcPct val="0"/>
        </a:spcAft>
        <a:buChar char="–"/>
        <a:defRPr sz="1800">
          <a:solidFill>
            <a:schemeClr val="tx1"/>
          </a:solidFill>
          <a:latin typeface="+mn-lt"/>
          <a:ea typeface="+mn-ea"/>
        </a:defRPr>
      </a:lvl2pPr>
      <a:lvl3pPr marL="615600" indent="-198000" algn="l" rtl="0" eaLnBrk="1" fontAlgn="base" hangingPunct="1">
        <a:spcBef>
          <a:spcPct val="20000"/>
        </a:spcBef>
        <a:spcAft>
          <a:spcPct val="0"/>
        </a:spcAft>
        <a:buChar char="•"/>
        <a:defRPr sz="1800">
          <a:solidFill>
            <a:schemeClr val="tx1"/>
          </a:solidFill>
          <a:latin typeface="+mn-lt"/>
          <a:ea typeface="+mn-ea"/>
        </a:defRPr>
      </a:lvl3pPr>
      <a:lvl4pPr marL="828000" indent="-198000" algn="l" rtl="0" eaLnBrk="1" fontAlgn="base" hangingPunct="1">
        <a:spcBef>
          <a:spcPct val="20000"/>
        </a:spcBef>
        <a:spcAft>
          <a:spcPct val="0"/>
        </a:spcAft>
        <a:buChar char="–"/>
        <a:defRPr sz="1800">
          <a:solidFill>
            <a:schemeClr val="tx1"/>
          </a:solidFill>
          <a:latin typeface="+mn-lt"/>
          <a:ea typeface="+mn-ea"/>
        </a:defRPr>
      </a:lvl4pPr>
      <a:lvl5pPr marL="1026000" indent="-198000" algn="l" rtl="0" eaLnBrk="1" fontAlgn="base" hangingPunct="1">
        <a:spcBef>
          <a:spcPct val="20000"/>
        </a:spcBef>
        <a:spcAft>
          <a:spcPct val="0"/>
        </a:spcAft>
        <a:buChar char="»"/>
        <a:defRPr sz="1800">
          <a:solidFill>
            <a:schemeClr val="tx1"/>
          </a:solidFill>
          <a:latin typeface="+mn-lt"/>
          <a:ea typeface="+mn-ea"/>
        </a:defRPr>
      </a:lvl5pPr>
      <a:lvl6pPr marL="1026000" indent="-198000" algn="l" rtl="0" eaLnBrk="1" fontAlgn="base" hangingPunct="1">
        <a:spcBef>
          <a:spcPct val="20000"/>
        </a:spcBef>
        <a:spcAft>
          <a:spcPct val="0"/>
        </a:spcAft>
        <a:buChar char="»"/>
        <a:defRPr sz="1800">
          <a:solidFill>
            <a:schemeClr val="tx1"/>
          </a:solidFill>
          <a:latin typeface="+mn-lt"/>
          <a:ea typeface="+mn-ea"/>
        </a:defRPr>
      </a:lvl6pPr>
      <a:lvl7pPr marL="1026000" indent="-198000" algn="l" rtl="0" eaLnBrk="1" fontAlgn="base" hangingPunct="1">
        <a:spcBef>
          <a:spcPct val="20000"/>
        </a:spcBef>
        <a:spcAft>
          <a:spcPct val="0"/>
        </a:spcAft>
        <a:buChar char="»"/>
        <a:defRPr sz="1800">
          <a:solidFill>
            <a:schemeClr val="tx1"/>
          </a:solidFill>
          <a:latin typeface="+mn-lt"/>
          <a:ea typeface="+mn-ea"/>
        </a:defRPr>
      </a:lvl7pPr>
      <a:lvl8pPr marL="1026000" indent="-198000" algn="l" rtl="0" eaLnBrk="1" fontAlgn="base" hangingPunct="1">
        <a:spcBef>
          <a:spcPct val="20000"/>
        </a:spcBef>
        <a:spcAft>
          <a:spcPct val="0"/>
        </a:spcAft>
        <a:buChar char="»"/>
        <a:defRPr sz="1800">
          <a:solidFill>
            <a:schemeClr val="tx1"/>
          </a:solidFill>
          <a:latin typeface="+mn-lt"/>
          <a:ea typeface="+mn-ea"/>
        </a:defRPr>
      </a:lvl8pPr>
      <a:lvl9pPr marL="1026000" indent="-198000" algn="l" rtl="0" eaLnBrk="1" fontAlgn="base" hangingPunct="1">
        <a:spcBef>
          <a:spcPct val="20000"/>
        </a:spcBef>
        <a:spcAft>
          <a:spcPct val="0"/>
        </a:spcAft>
        <a:buChar char="»"/>
        <a:defRPr sz="18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3" orient="horz" pos="268" userDrawn="1">
          <p15:clr>
            <a:srgbClr val="F26B43"/>
          </p15:clr>
        </p15:guide>
        <p15:guide id="4" orient="horz" pos="881" userDrawn="1">
          <p15:clr>
            <a:srgbClr val="F26B43"/>
          </p15:clr>
        </p15:guide>
        <p15:guide id="5" orient="horz" pos="1074" userDrawn="1">
          <p15:clr>
            <a:srgbClr val="F26B43"/>
          </p15:clr>
        </p15:guide>
        <p15:guide id="6" orient="horz" pos="393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customXml" Target="../../customXml/item8.xml"/><Relationship Id="rId1" Type="http://schemas.openxmlformats.org/officeDocument/2006/relationships/customXml" Target="../../customXml/item5.xml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4.png"/><Relationship Id="rId4" Type="http://schemas.openxmlformats.org/officeDocument/2006/relationships/image" Target="../media/image3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custData r:id="rId1"/>
      <p:custData r:id="rId2"/>
    </p:custData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21"/>
          </p:nvPr>
        </p:nvSpPr>
        <p:spPr>
          <a:xfrm>
            <a:off x="1702718" y="1124744"/>
            <a:ext cx="8642099" cy="4922286"/>
          </a:xfrm>
        </p:spPr>
        <p:txBody>
          <a:bodyPr/>
          <a:lstStyle/>
          <a:p>
            <a:r>
              <a:rPr lang="da-DK" sz="1600" dirty="0"/>
              <a:t>Når frosten sætter ind, falder danskerne på stribe på isglatte fortove og veje.</a:t>
            </a:r>
          </a:p>
          <a:p>
            <a:r>
              <a:rPr lang="da-DK" sz="1600" dirty="0"/>
              <a:t>Der bliver anmeldt cirka 3.000 arbejdsskader/år til Arbejdstilsynet pga. glat føre. </a:t>
            </a:r>
          </a:p>
          <a:p>
            <a:endParaRPr lang="da-DK" dirty="0"/>
          </a:p>
          <a:p>
            <a:endParaRPr lang="da-DK" dirty="0" smtClean="0"/>
          </a:p>
          <a:p>
            <a:endParaRPr lang="da-DK" dirty="0"/>
          </a:p>
          <a:p>
            <a:endParaRPr lang="da-DK" dirty="0" smtClean="0"/>
          </a:p>
          <a:p>
            <a:endParaRPr lang="da-DK" dirty="0"/>
          </a:p>
          <a:p>
            <a:endParaRPr lang="da-DK" b="1" dirty="0" smtClean="0"/>
          </a:p>
          <a:p>
            <a:r>
              <a:rPr lang="da-DK" sz="1600" dirty="0"/>
              <a:t>Hvis du ikke allerede har gjort det, så få skiftet til vinterdæk….</a:t>
            </a:r>
          </a:p>
          <a:p>
            <a:endParaRPr lang="da-DK" dirty="0" smtClean="0"/>
          </a:p>
          <a:p>
            <a:endParaRPr lang="da-DK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936124" y="781859"/>
            <a:ext cx="8604000" cy="410899"/>
          </a:xfrm>
        </p:spPr>
        <p:txBody>
          <a:bodyPr/>
          <a:lstStyle/>
          <a:p>
            <a:r>
              <a:rPr lang="da-DK" dirty="0"/>
              <a:t>Vinteren lurer lige rundt om </a:t>
            </a:r>
            <a:r>
              <a:rPr lang="da-DK" dirty="0" smtClean="0"/>
              <a:t>hjørnet</a:t>
            </a:r>
            <a:r>
              <a:rPr lang="da-DK" dirty="0"/>
              <a:t/>
            </a:r>
            <a:br>
              <a:rPr lang="da-DK" dirty="0"/>
            </a:br>
            <a:endParaRPr lang="da-DK" dirty="0"/>
          </a:p>
        </p:txBody>
      </p:sp>
      <p:pic>
        <p:nvPicPr>
          <p:cNvPr id="8" name="Content Placeholder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8084" y="1790378"/>
            <a:ext cx="2860040" cy="972284"/>
          </a:xfrm>
          <a:prstGeom prst="rect">
            <a:avLst/>
          </a:prstGeom>
        </p:spPr>
      </p:pic>
      <p:pic>
        <p:nvPicPr>
          <p:cNvPr id="9" name="Content Placeholder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96949" y="1788056"/>
            <a:ext cx="2856426" cy="974607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47488" y="4028978"/>
            <a:ext cx="2618529" cy="1741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75804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DNEW" val="Fals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DTU">
      <a:dk1>
        <a:srgbClr val="000000"/>
      </a:dk1>
      <a:lt1>
        <a:srgbClr val="FFFFFF"/>
      </a:lt1>
      <a:dk2>
        <a:srgbClr val="990000"/>
      </a:dk2>
      <a:lt2>
        <a:srgbClr val="79238E"/>
      </a:lt2>
      <a:accent1>
        <a:srgbClr val="990000"/>
      </a:accent1>
      <a:accent2>
        <a:srgbClr val="2F3EEA"/>
      </a:accent2>
      <a:accent3>
        <a:srgbClr val="1FD082"/>
      </a:accent3>
      <a:accent4>
        <a:srgbClr val="171748"/>
      </a:accent4>
      <a:accent5>
        <a:srgbClr val="F6D04D"/>
      </a:accent5>
      <a:accent6>
        <a:srgbClr val="FC7634"/>
      </a:accent6>
      <a:hlink>
        <a:srgbClr val="2F3EEA"/>
      </a:hlink>
      <a:folHlink>
        <a:srgbClr val="990000"/>
      </a:folHlink>
    </a:clrScheme>
    <a:fontScheme name="DTU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solidFill>
            <a:schemeClr val="accent1"/>
          </a:solidFill>
          <a:prstDash val="solid"/>
          <a:miter lim="800000"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0000" tIns="46800" rIns="90000" bIns="4680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ts val="432"/>
          </a:spcBef>
          <a:spcAft>
            <a:spcPct val="0"/>
          </a:spcAft>
          <a:buClrTx/>
          <a:buSzTx/>
          <a:buFontTx/>
          <a:buNone/>
          <a:tabLst/>
          <a:defRPr kumimoji="0" sz="1600" b="0" i="0" u="none" strike="noStrike" cap="none" normalizeH="0" baseline="0" dirty="0" err="1" smtClean="0">
            <a:ln>
              <a:noFill/>
            </a:ln>
            <a:solidFill>
              <a:srgbClr val="FFFFFF"/>
            </a:solidFill>
            <a:effectLst/>
            <a:latin typeface="+mn-lt"/>
            <a:ea typeface="ＭＳ Ｐゴシック" pitchFamily="-80" charset="-128"/>
          </a:defRPr>
        </a:defPPr>
      </a:lstStyle>
    </a:spDef>
    <a:lnDef>
      <a:spPr bwMode="auto">
        <a:solidFill>
          <a:schemeClr val="accent1"/>
        </a:solidFill>
        <a:ln w="9525" cap="flat" cmpd="sng" algn="ctr">
          <a:solidFill>
            <a:schemeClr val="tx1"/>
          </a:solidFill>
          <a:prstDash val="solid"/>
          <a:miter lim="800000"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 algn="l">
          <a:spcBef>
            <a:spcPts val="432"/>
          </a:spcBef>
          <a:defRPr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otx" id="{3B38FA3B-2246-40E5-A61A-EA1559A3CD76}" vid="{D5F764FD-A73C-4B6C-BF48-3536DEB79AD2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TemplafySlideTemplateConfiguration><![CDATA[{"elementsMetadata":[],"enableDocumentContentUpdater":true,"documentContentValidatorConfiguration":{"enableDocumentContentValidator":false,"documentContentValidatorVersion":0},"slideId":"636837486369128185","version":"1.2"}]]></TemplafySlideTemplateConfiguration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TemplafySlideFormConfiguration><![CDATA[{"formFields":[],"formDataEntries":[]}]]></TemplafySlideFormConfiguration>
</file>

<file path=customXml/item4.xml><?xml version="1.0" encoding="utf-8"?>
<TemplafyFormConfiguration><![CDATA[{"formFields":[{"required":false,"type":"datePicker","name":"Date","label":"Date","helpTexts":{"prefix":"","postfix":""},"spacing":{},"fullyQualifiedName":"Date"},{"required":false,"placeholder":"","lines":0,"type":"textBox","name":"PresentationTitle","label":"Presentation title","helpTexts":{"prefix":"","postfix":""},"spacing":{},"fullyQualifiedName":"PresentationTitle"}],"formDataEntries":[{"name":"Date","value":"4Xm7d242HGo446IH5nRjQA=="},{"name":"PresentationTitle","value":"ZR/I84ubq+6CkRKNk7nn9w=="}]}]]></TemplafyFormConfiguration>
</file>

<file path=customXml/item5.xml><?xml version="1.0" encoding="utf-8"?>
<TemplafySlideTemplateConfiguration><![CDATA[{"elementsMetadata":[],"enableDocumentContentUpdater":true,"documentContentValidatorConfiguration":{"enableDocumentContentValidator":false,"documentContentValidatorVersion":0},"slideId":"636837486366003040","version":"1.2"}]]></TemplafySlideTemplateConfiguration>
</file>

<file path=customXml/item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7.xml><?xml version="1.0" encoding="utf-8"?>
<TemplafyTemplateConfiguration><![CDATA[{"elementsMetadata":[{"type":"shape","id":"2fce62a0-f28a-44e1-a519-0cbe37b25f7a","elementConfiguration":{"binding":"UserProfile.Offices.Workarea_{{DocumentLanguage}}","disableUpdates":false,"type":"text"}},{"type":"shape","id":"58465eeb-cfe0-4970-97ec-88179dc0a9c2","elementConfiguration":{"binding":"Form.Date","format":"{{DateFormats.GeneralDate}}","disableUpdates":false,"type":"date"}},{"type":"shape","id":"5020bdfb-1912-4d6d-a5c3-71b7da283692","elementConfiguration":{"binding":"Form.PresentationTitle","disableUpdates":false,"type":"text"}},{"type":"shape","id":"8d5b95d1-8a23-4044-9620-bf5e7305a170","elementConfiguration":{"binding":"UserProfile.Offices.Workarea_{{DocumentLanguage}}","disableUpdates":false,"type":"text"}},{"type":"shape","id":"79fbb3c3-dd89-47ef-91e9-e0bd2bb0942f","elementConfiguration":{"binding":"Form.Date","format":"{{DateFormats.GeneralDate}}","disableUpdates":false,"type":"date"}},{"type":"shape","id":"5e9447ba-0dff-46ec-ac33-540c046ca40a","elementConfiguration":{"binding":"Form.PresentationTitle","disableUpdates":false,"type":"text"}}],"transformationConfigurations":[{"language":"{{DocumentLanguage}}","disableUpdates":false,"type":"proofingLanguage"}],"enableDocumentContentUpdater":true,"templateName":"DTU Template 16_9 - Corporate red","templateDescription":"","version":"1.2"}]]></TemplafyTemplateConfiguration>
</file>

<file path=customXml/item8.xml><?xml version="1.0" encoding="utf-8"?>
<TemplafySlideFormConfiguration><![CDATA[{"formFields":[],"formDataEntries":[]}]]></TemplafySlideFormConfiguration>
</file>

<file path=customXml/item9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8204140473DBED4A8147D0B3F233126B" ma:contentTypeVersion="10" ma:contentTypeDescription="Opret et nyt dokument." ma:contentTypeScope="" ma:versionID="a29f47f36c72f13124468f220c4d5360">
  <xsd:schema xmlns:xsd="http://www.w3.org/2001/XMLSchema" xmlns:xs="http://www.w3.org/2001/XMLSchema" xmlns:p="http://schemas.microsoft.com/office/2006/metadata/properties" xmlns:ns3="6d5176c5-17ce-4d03-a978-84a97e2ad3f0" targetNamespace="http://schemas.microsoft.com/office/2006/metadata/properties" ma:root="true" ma:fieldsID="7d3fef799a5451550844194a72454b6d" ns3:_="">
    <xsd:import namespace="6d5176c5-17ce-4d03-a978-84a97e2ad3f0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Location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5176c5-17ce-4d03-a978-84a97e2ad3f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dhol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1FAAC39-0A3A-4CC2-A9C1-60940B78AE17}">
  <ds:schemaRefs/>
</ds:datastoreItem>
</file>

<file path=customXml/itemProps2.xml><?xml version="1.0" encoding="utf-8"?>
<ds:datastoreItem xmlns:ds="http://schemas.openxmlformats.org/officeDocument/2006/customXml" ds:itemID="{1678FD68-3F16-4323-BBD7-E8EFA917C63E}">
  <ds:schemaRefs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6d5176c5-17ce-4d03-a978-84a97e2ad3f0"/>
    <ds:schemaRef ds:uri="http://purl.org/dc/terms/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56C8BFB2-A911-4310-9D4A-421D773FAFA6}">
  <ds:schemaRefs/>
</ds:datastoreItem>
</file>

<file path=customXml/itemProps4.xml><?xml version="1.0" encoding="utf-8"?>
<ds:datastoreItem xmlns:ds="http://schemas.openxmlformats.org/officeDocument/2006/customXml" ds:itemID="{05DC2B94-7C1B-4C14-83B0-9CD2A82C27E0}">
  <ds:schemaRefs/>
</ds:datastoreItem>
</file>

<file path=customXml/itemProps5.xml><?xml version="1.0" encoding="utf-8"?>
<ds:datastoreItem xmlns:ds="http://schemas.openxmlformats.org/officeDocument/2006/customXml" ds:itemID="{E5957E33-0059-46CE-AE7B-582F67E40B53}">
  <ds:schemaRefs/>
</ds:datastoreItem>
</file>

<file path=customXml/itemProps6.xml><?xml version="1.0" encoding="utf-8"?>
<ds:datastoreItem xmlns:ds="http://schemas.openxmlformats.org/officeDocument/2006/customXml" ds:itemID="{89463071-9B7F-4552-9A7C-21FAA50BCAF5}">
  <ds:schemaRefs>
    <ds:schemaRef ds:uri="http://schemas.microsoft.com/sharepoint/v3/contenttype/forms"/>
  </ds:schemaRefs>
</ds:datastoreItem>
</file>

<file path=customXml/itemProps7.xml><?xml version="1.0" encoding="utf-8"?>
<ds:datastoreItem xmlns:ds="http://schemas.openxmlformats.org/officeDocument/2006/customXml" ds:itemID="{1334258C-C3E7-4029-A615-C886A240FB15}">
  <ds:schemaRefs/>
</ds:datastoreItem>
</file>

<file path=customXml/itemProps8.xml><?xml version="1.0" encoding="utf-8"?>
<ds:datastoreItem xmlns:ds="http://schemas.openxmlformats.org/officeDocument/2006/customXml" ds:itemID="{8660AB89-308F-4A34-B01B-CC1A9333F1B1}">
  <ds:schemaRefs/>
</ds:datastoreItem>
</file>

<file path=customXml/itemProps9.xml><?xml version="1.0" encoding="utf-8"?>
<ds:datastoreItem xmlns:ds="http://schemas.openxmlformats.org/officeDocument/2006/customXml" ds:itemID="{8418B63E-F992-4600-9219-E5B6548F917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d5176c5-17ce-4d03-a978-84a97e2ad3f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9</TotalTime>
  <Words>51</Words>
  <Application>Microsoft Office PowerPoint</Application>
  <PresentationFormat>Custom</PresentationFormat>
  <Paragraphs>12</Paragraphs>
  <Slides>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7" baseType="lpstr">
      <vt:lpstr>ＭＳ Ｐゴシック</vt:lpstr>
      <vt:lpstr>Arial</vt:lpstr>
      <vt:lpstr>Verdana</vt:lpstr>
      <vt:lpstr>Blank</vt:lpstr>
      <vt:lpstr>think-cell Slide</vt:lpstr>
      <vt:lpstr>PowerPoint Presentation</vt:lpstr>
      <vt:lpstr>Vinteren lurer lige rundt om hjørnet </vt:lpstr>
    </vt:vector>
  </TitlesOfParts>
  <Company>DTU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ars Villadsen</dc:creator>
  <cp:lastModifiedBy>Leif Leon Warner</cp:lastModifiedBy>
  <cp:revision>4</cp:revision>
  <dcterms:created xsi:type="dcterms:W3CDTF">2021-01-04T11:08:34Z</dcterms:created>
  <dcterms:modified xsi:type="dcterms:W3CDTF">2021-01-10T17:00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sdIsCodeFreeTemplate">
    <vt:lpwstr>True</vt:lpwstr>
  </property>
  <property fmtid="{D5CDD505-2E9C-101B-9397-08002B2CF9AE}" pid="3" name="TemplafyTenantId">
    <vt:lpwstr>dtu</vt:lpwstr>
  </property>
  <property fmtid="{D5CDD505-2E9C-101B-9397-08002B2CF9AE}" pid="4" name="TemplafyTemplateId">
    <vt:lpwstr>636784030496976655</vt:lpwstr>
  </property>
  <property fmtid="{D5CDD505-2E9C-101B-9397-08002B2CF9AE}" pid="5" name="TemplafyUserProfileId">
    <vt:lpwstr>636838302414865013</vt:lpwstr>
  </property>
  <property fmtid="{D5CDD505-2E9C-101B-9397-08002B2CF9AE}" pid="6" name="TemplafyLanguageCode">
    <vt:lpwstr>en-GB</vt:lpwstr>
  </property>
  <property fmtid="{D5CDD505-2E9C-101B-9397-08002B2CF9AE}" pid="7" name="ContentTypeId">
    <vt:lpwstr>0x0101008204140473DBED4A8147D0B3F233126B</vt:lpwstr>
  </property>
</Properties>
</file>